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5.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 id="2147483831" r:id="rId10"/>
  </p:sldMasterIdLst>
  <p:notesMasterIdLst>
    <p:notesMasterId r:id="rId24"/>
  </p:notesMasterIdLst>
  <p:handoutMasterIdLst>
    <p:handoutMasterId r:id="rId25"/>
  </p:handoutMasterIdLst>
  <p:sldIdLst>
    <p:sldId id="306" r:id="rId11"/>
    <p:sldId id="362" r:id="rId12"/>
    <p:sldId id="363" r:id="rId13"/>
    <p:sldId id="359" r:id="rId14"/>
    <p:sldId id="2147471277" r:id="rId15"/>
    <p:sldId id="2147471278" r:id="rId16"/>
    <p:sldId id="2147471279" r:id="rId17"/>
    <p:sldId id="2147471281" r:id="rId18"/>
    <p:sldId id="2147471283" r:id="rId19"/>
    <p:sldId id="2147471284" r:id="rId20"/>
    <p:sldId id="2147471285" r:id="rId21"/>
    <p:sldId id="360" r:id="rId22"/>
    <p:sldId id="357" r:id="rId23"/>
  </p:sldIdLst>
  <p:sldSz cx="9144000" cy="5143500" type="screen16x9"/>
  <p:notesSz cx="6858000" cy="9144000"/>
  <p:custDataLst>
    <p:tags r:id="rId26"/>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Forfatter" initials="F" lastIdx="68"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A7"/>
    <a:srgbClr val="E5E9DF"/>
    <a:srgbClr val="94CDD3"/>
    <a:srgbClr val="E3F2F3"/>
    <a:srgbClr val="009FB0"/>
    <a:srgbClr val="009CAC"/>
    <a:srgbClr val="40A6B1"/>
    <a:srgbClr val="FFFFFF"/>
    <a:srgbClr val="145F65"/>
    <a:srgbClr val="5CB4BC"/>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37" autoAdjust="0"/>
    <p:restoredTop sz="60274" autoAdjust="0"/>
  </p:normalViewPr>
  <p:slideViewPr>
    <p:cSldViewPr>
      <p:cViewPr varScale="1">
        <p:scale>
          <a:sx n="142" d="100"/>
          <a:sy n="142" d="100"/>
        </p:scale>
        <p:origin x="138" y="246"/>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17-09-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17-09-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1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7. september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64853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rs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D9C2CD-1B72-B5C1-0BD1-1A7F7EAA073C}"/>
              </a:ext>
            </a:extLst>
          </p:cNvPr>
          <p:cNvSpPr>
            <a:spLocks noGrp="1"/>
          </p:cNvSpPr>
          <p:nvPr>
            <p:ph type="ctrTitle" hasCustomPrompt="1"/>
          </p:nvPr>
        </p:nvSpPr>
        <p:spPr>
          <a:xfrm>
            <a:off x="934138" y="2067694"/>
            <a:ext cx="7087103" cy="1205443"/>
          </a:xfrm>
          <a:prstGeom prst="rect">
            <a:avLst/>
          </a:prstGeom>
          <a:effectLst/>
        </p:spPr>
        <p:txBody>
          <a:bodyPr vert="horz" wrap="square" lIns="0" tIns="45720" rIns="91440" bIns="45720" anchor="t" anchorCtr="0">
            <a:noAutofit/>
          </a:bodyPr>
          <a:lstStyle>
            <a:lvl1pPr algn="l">
              <a:defRPr sz="3450" b="0" i="0" u="none" strike="noStrike">
                <a:solidFill>
                  <a:schemeClr val="bg1">
                    <a:lumMod val="100000"/>
                  </a:schemeClr>
                </a:solidFill>
                <a:latin typeface="+mj-lt"/>
                <a:cs typeface="Arial" panose="020B0604020202020204" pitchFamily="34" charset="0"/>
              </a:defRPr>
            </a:lvl1pPr>
          </a:lstStyle>
          <a:p>
            <a:r>
              <a:rPr lang="da-DK" dirty="0"/>
              <a:t>Her kan du skrive </a:t>
            </a:r>
            <a:br>
              <a:rPr lang="da-DK" dirty="0"/>
            </a:br>
            <a:r>
              <a:rPr lang="da-DK" dirty="0"/>
              <a:t>din titel i to linjer</a:t>
            </a:r>
          </a:p>
        </p:txBody>
      </p:sp>
      <p:sp>
        <p:nvSpPr>
          <p:cNvPr id="4" name="Undertitel 2">
            <a:extLst>
              <a:ext uri="{FF2B5EF4-FFF2-40B4-BE49-F238E27FC236}">
                <a16:creationId xmlns:a16="http://schemas.microsoft.com/office/drawing/2014/main" id="{2F73F4F8-07D6-A27C-C0A0-3163956E1939}"/>
              </a:ext>
            </a:extLst>
          </p:cNvPr>
          <p:cNvSpPr>
            <a:spLocks noGrp="1"/>
          </p:cNvSpPr>
          <p:nvPr>
            <p:ph type="subTitle" idx="1" hasCustomPrompt="1"/>
          </p:nvPr>
        </p:nvSpPr>
        <p:spPr>
          <a:xfrm>
            <a:off x="934139" y="3357159"/>
            <a:ext cx="5855996" cy="360040"/>
          </a:xfrm>
          <a:noFill/>
          <a:effectLst/>
        </p:spPr>
        <p:txBody>
          <a:bodyPr vert="horz" wrap="square" lIns="0" anchor="t">
            <a:noAutofit/>
          </a:bodyPr>
          <a:lstStyle>
            <a:lvl1pPr marL="0" indent="0" algn="l">
              <a:buNone/>
              <a:defRPr sz="1650" b="0" i="0" u="none" strike="noStrike">
                <a:solidFill>
                  <a:schemeClr val="bg1">
                    <a:lumMod val="100000"/>
                  </a:schemeClr>
                </a:solidFill>
                <a:latin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Her kan du skrive din korte undertitel</a:t>
            </a:r>
          </a:p>
        </p:txBody>
      </p:sp>
      <p:sp>
        <p:nvSpPr>
          <p:cNvPr id="7" name="Date Placeholder 7">
            <a:extLst>
              <a:ext uri="{FF2B5EF4-FFF2-40B4-BE49-F238E27FC236}">
                <a16:creationId xmlns:a16="http://schemas.microsoft.com/office/drawing/2014/main" id="{60603A49-B3C5-9135-8F48-1D190DB7E500}"/>
              </a:ext>
            </a:extLst>
          </p:cNvPr>
          <p:cNvSpPr>
            <a:spLocks noGrp="1"/>
          </p:cNvSpPr>
          <p:nvPr>
            <p:ph type="dt" sz="half" idx="16"/>
          </p:nvPr>
        </p:nvSpPr>
        <p:spPr>
          <a:xfrm>
            <a:off x="0" y="5143500"/>
            <a:ext cx="0" cy="0"/>
          </a:xfrm>
          <a:prstGeom prst="rect">
            <a:avLst/>
          </a:prstGeom>
        </p:spPr>
        <p:txBody>
          <a:bodyPr vert="horz" lIns="0" tIns="0" rIns="0" bIns="0" rtlCol="0" anchor="b" anchorCtr="0"/>
          <a:lstStyle>
            <a:defPPr>
              <a:defRPr lang="da-DK"/>
            </a:defPPr>
            <a:lvl1pPr marL="0" algn="r" defTabSz="685800" rtl="0" eaLnBrk="1" latinLnBrk="0" hangingPunct="1">
              <a:defRPr lang="da-DK" sz="600" kern="1200" smtClean="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F899B8FE-1FE7-4CBD-A7A8-D3519143D26E}" type="datetime2">
              <a:rPr lang="da-DK" smtClean="0"/>
              <a:t>17. september 2025</a:t>
            </a:fld>
            <a:endParaRPr lang="da-DK" dirty="0"/>
          </a:p>
        </p:txBody>
      </p:sp>
      <p:sp>
        <p:nvSpPr>
          <p:cNvPr id="8" name="Footer Placeholder 8">
            <a:extLst>
              <a:ext uri="{FF2B5EF4-FFF2-40B4-BE49-F238E27FC236}">
                <a16:creationId xmlns:a16="http://schemas.microsoft.com/office/drawing/2014/main" id="{326942F3-592C-735D-7A2F-BB19F874CE79}"/>
              </a:ext>
            </a:extLst>
          </p:cNvPr>
          <p:cNvSpPr>
            <a:spLocks noGrp="1"/>
          </p:cNvSpPr>
          <p:nvPr>
            <p:ph type="ftr" sz="quarter" idx="17"/>
          </p:nvPr>
        </p:nvSpPr>
        <p:spPr>
          <a:xfrm>
            <a:off x="0" y="5143500"/>
            <a:ext cx="0" cy="0"/>
          </a:xfrm>
          <a:prstGeom prst="rect">
            <a:avLst/>
          </a:prstGeom>
        </p:spPr>
        <p:txBody>
          <a:bodyPr vert="horz" lIns="0" tIns="0" rIns="0" bIns="0" rtlCol="0" anchor="b" anchorCtr="0"/>
          <a:lstStyle>
            <a:defPPr>
              <a:defRPr lang="da-DK"/>
            </a:defPPr>
            <a:lvl1pPr marL="0" algn="l" defTabSz="685800" rtl="0" eaLnBrk="1" latinLnBrk="0" hangingPunct="1">
              <a:defRPr lang="da-DK"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10" name="Slide Number Placeholder 9">
            <a:extLst>
              <a:ext uri="{FF2B5EF4-FFF2-40B4-BE49-F238E27FC236}">
                <a16:creationId xmlns:a16="http://schemas.microsoft.com/office/drawing/2014/main" id="{6B917FF8-050C-0196-F619-0A0B312B21A2}"/>
              </a:ext>
            </a:extLst>
          </p:cNvPr>
          <p:cNvSpPr>
            <a:spLocks noGrp="1"/>
          </p:cNvSpPr>
          <p:nvPr>
            <p:ph type="sldNum" sz="quarter" idx="18"/>
          </p:nvPr>
        </p:nvSpPr>
        <p:spPr>
          <a:xfrm>
            <a:off x="0" y="5143500"/>
            <a:ext cx="0" cy="0"/>
          </a:xfrm>
          <a:prstGeom prst="rect">
            <a:avLst/>
          </a:prstGeom>
        </p:spPr>
        <p:txBody>
          <a:bodyPr vert="horz" lIns="0" tIns="0" rIns="0" bIns="0" rtlCol="0" anchor="b" anchorCtr="0"/>
          <a:lstStyle>
            <a:defPPr>
              <a:defRPr lang="da-DK"/>
            </a:defPPr>
            <a:lvl1pPr marL="0" algn="r" defTabSz="685800" rtl="0" eaLnBrk="1" latinLnBrk="0" hangingPunct="1">
              <a:defRPr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54" name="Freeform: Shape 53">
            <a:extLst>
              <a:ext uri="{FF2B5EF4-FFF2-40B4-BE49-F238E27FC236}">
                <a16:creationId xmlns:a16="http://schemas.microsoft.com/office/drawing/2014/main" id="{F4DB8476-84D5-FF78-730C-434B814D581E}"/>
              </a:ext>
            </a:extLst>
          </p:cNvPr>
          <p:cNvSpPr/>
          <p:nvPr/>
        </p:nvSpPr>
        <p:spPr>
          <a:xfrm>
            <a:off x="934641" y="778409"/>
            <a:ext cx="1141177" cy="1141201"/>
          </a:xfrm>
          <a:custGeom>
            <a:avLst/>
            <a:gdLst>
              <a:gd name="connsiteX0" fmla="*/ 908875 w 2920154"/>
              <a:gd name="connsiteY0" fmla="*/ 2064244 h 2920216"/>
              <a:gd name="connsiteX1" fmla="*/ 2053750 w 2920154"/>
              <a:gd name="connsiteY1" fmla="*/ 2064244 h 2920216"/>
              <a:gd name="connsiteX2" fmla="*/ 2053750 w 2920154"/>
              <a:gd name="connsiteY2" fmla="*/ 2078196 h 2920216"/>
              <a:gd name="connsiteX3" fmla="*/ 2053750 w 2920154"/>
              <a:gd name="connsiteY3" fmla="*/ 2122889 h 2920216"/>
              <a:gd name="connsiteX4" fmla="*/ 2053750 w 2920154"/>
              <a:gd name="connsiteY4" fmla="*/ 2136841 h 2920216"/>
              <a:gd name="connsiteX5" fmla="*/ 908875 w 2920154"/>
              <a:gd name="connsiteY5" fmla="*/ 2136841 h 2920216"/>
              <a:gd name="connsiteX6" fmla="*/ 908875 w 2920154"/>
              <a:gd name="connsiteY6" fmla="*/ 2136223 h 2920216"/>
              <a:gd name="connsiteX7" fmla="*/ 887639 w 2920154"/>
              <a:gd name="connsiteY7" fmla="*/ 2136223 h 2920216"/>
              <a:gd name="connsiteX8" fmla="*/ 887639 w 2920154"/>
              <a:gd name="connsiteY8" fmla="*/ 2077578 h 2920216"/>
              <a:gd name="connsiteX9" fmla="*/ 908875 w 2920154"/>
              <a:gd name="connsiteY9" fmla="*/ 2077578 h 2920216"/>
              <a:gd name="connsiteX10" fmla="*/ 908875 w 2920154"/>
              <a:gd name="connsiteY10" fmla="*/ 1965535 h 2920216"/>
              <a:gd name="connsiteX11" fmla="*/ 2053750 w 2920154"/>
              <a:gd name="connsiteY11" fmla="*/ 1965535 h 2920216"/>
              <a:gd name="connsiteX12" fmla="*/ 2053750 w 2920154"/>
              <a:gd name="connsiteY12" fmla="*/ 1979487 h 2920216"/>
              <a:gd name="connsiteX13" fmla="*/ 2053750 w 2920154"/>
              <a:gd name="connsiteY13" fmla="*/ 2024180 h 2920216"/>
              <a:gd name="connsiteX14" fmla="*/ 2053750 w 2920154"/>
              <a:gd name="connsiteY14" fmla="*/ 2038132 h 2920216"/>
              <a:gd name="connsiteX15" fmla="*/ 908875 w 2920154"/>
              <a:gd name="connsiteY15" fmla="*/ 2038132 h 2920216"/>
              <a:gd name="connsiteX16" fmla="*/ 908875 w 2920154"/>
              <a:gd name="connsiteY16" fmla="*/ 2037514 h 2920216"/>
              <a:gd name="connsiteX17" fmla="*/ 887639 w 2920154"/>
              <a:gd name="connsiteY17" fmla="*/ 2037514 h 2920216"/>
              <a:gd name="connsiteX18" fmla="*/ 887639 w 2920154"/>
              <a:gd name="connsiteY18" fmla="*/ 1978869 h 2920216"/>
              <a:gd name="connsiteX19" fmla="*/ 908875 w 2920154"/>
              <a:gd name="connsiteY19" fmla="*/ 1978869 h 2920216"/>
              <a:gd name="connsiteX20" fmla="*/ 908875 w 2920154"/>
              <a:gd name="connsiteY20" fmla="*/ 1866826 h 2920216"/>
              <a:gd name="connsiteX21" fmla="*/ 2053750 w 2920154"/>
              <a:gd name="connsiteY21" fmla="*/ 1866826 h 2920216"/>
              <a:gd name="connsiteX22" fmla="*/ 2053750 w 2920154"/>
              <a:gd name="connsiteY22" fmla="*/ 1880778 h 2920216"/>
              <a:gd name="connsiteX23" fmla="*/ 2053750 w 2920154"/>
              <a:gd name="connsiteY23" fmla="*/ 1925471 h 2920216"/>
              <a:gd name="connsiteX24" fmla="*/ 2053750 w 2920154"/>
              <a:gd name="connsiteY24" fmla="*/ 1939423 h 2920216"/>
              <a:gd name="connsiteX25" fmla="*/ 908875 w 2920154"/>
              <a:gd name="connsiteY25" fmla="*/ 1939423 h 2920216"/>
              <a:gd name="connsiteX26" fmla="*/ 908875 w 2920154"/>
              <a:gd name="connsiteY26" fmla="*/ 1938805 h 2920216"/>
              <a:gd name="connsiteX27" fmla="*/ 887639 w 2920154"/>
              <a:gd name="connsiteY27" fmla="*/ 1938805 h 2920216"/>
              <a:gd name="connsiteX28" fmla="*/ 887639 w 2920154"/>
              <a:gd name="connsiteY28" fmla="*/ 1880160 h 2920216"/>
              <a:gd name="connsiteX29" fmla="*/ 908875 w 2920154"/>
              <a:gd name="connsiteY29" fmla="*/ 1880160 h 2920216"/>
              <a:gd name="connsiteX30" fmla="*/ 1474198 w 2920154"/>
              <a:gd name="connsiteY30" fmla="*/ 954491 h 2920216"/>
              <a:gd name="connsiteX31" fmla="*/ 1440416 w 2920154"/>
              <a:gd name="connsiteY31" fmla="*/ 964842 h 2920216"/>
              <a:gd name="connsiteX32" fmla="*/ 1413811 w 2920154"/>
              <a:gd name="connsiteY32" fmla="*/ 997197 h 2920216"/>
              <a:gd name="connsiteX33" fmla="*/ 1409446 w 2920154"/>
              <a:gd name="connsiteY33" fmla="*/ 1018819 h 2920216"/>
              <a:gd name="connsiteX34" fmla="*/ 1413811 w 2920154"/>
              <a:gd name="connsiteY34" fmla="*/ 1040441 h 2920216"/>
              <a:gd name="connsiteX35" fmla="*/ 1481436 w 2920154"/>
              <a:gd name="connsiteY35" fmla="*/ 1085365 h 2920216"/>
              <a:gd name="connsiteX36" fmla="*/ 1513081 w 2920154"/>
              <a:gd name="connsiteY36" fmla="*/ 1075668 h 2920216"/>
              <a:gd name="connsiteX37" fmla="*/ 1527824 w 2920154"/>
              <a:gd name="connsiteY37" fmla="*/ 1053775 h 2920216"/>
              <a:gd name="connsiteX38" fmla="*/ 1533598 w 2920154"/>
              <a:gd name="connsiteY38" fmla="*/ 1025177 h 2920216"/>
              <a:gd name="connsiteX39" fmla="*/ 1488753 w 2920154"/>
              <a:gd name="connsiteY39" fmla="*/ 957439 h 2920216"/>
              <a:gd name="connsiteX40" fmla="*/ 1481312 w 2920154"/>
              <a:gd name="connsiteY40" fmla="*/ 780843 h 2920216"/>
              <a:gd name="connsiteX41" fmla="*/ 1510573 w 2920154"/>
              <a:gd name="connsiteY41" fmla="*/ 810166 h 2920216"/>
              <a:gd name="connsiteX42" fmla="*/ 1510573 w 2920154"/>
              <a:gd name="connsiteY42" fmla="*/ 824118 h 2920216"/>
              <a:gd name="connsiteX43" fmla="*/ 1510573 w 2920154"/>
              <a:gd name="connsiteY43" fmla="*/ 887083 h 2920216"/>
              <a:gd name="connsiteX44" fmla="*/ 1608541 w 2920154"/>
              <a:gd name="connsiteY44" fmla="*/ 1020115 h 2920216"/>
              <a:gd name="connsiteX45" fmla="*/ 1790649 w 2920154"/>
              <a:gd name="connsiteY45" fmla="*/ 977829 h 2920216"/>
              <a:gd name="connsiteX46" fmla="*/ 2071528 w 2920154"/>
              <a:gd name="connsiteY46" fmla="*/ 1178395 h 2920216"/>
              <a:gd name="connsiteX47" fmla="*/ 2071590 w 2920154"/>
              <a:gd name="connsiteY47" fmla="*/ 1178395 h 2920216"/>
              <a:gd name="connsiteX48" fmla="*/ 2275490 w 2920154"/>
              <a:gd name="connsiteY48" fmla="*/ 1420012 h 2920216"/>
              <a:gd name="connsiteX49" fmla="*/ 2274628 w 2920154"/>
              <a:gd name="connsiteY49" fmla="*/ 1424789 h 2920216"/>
              <a:gd name="connsiteX50" fmla="*/ 2275490 w 2920154"/>
              <a:gd name="connsiteY50" fmla="*/ 1433965 h 2920216"/>
              <a:gd name="connsiteX51" fmla="*/ 2050108 w 2920154"/>
              <a:gd name="connsiteY51" fmla="*/ 1814355 h 2920216"/>
              <a:gd name="connsiteX52" fmla="*/ 2048749 w 2920154"/>
              <a:gd name="connsiteY52" fmla="*/ 1815960 h 2920216"/>
              <a:gd name="connsiteX53" fmla="*/ 1971029 w 2920154"/>
              <a:gd name="connsiteY53" fmla="*/ 1815960 h 2920216"/>
              <a:gd name="connsiteX54" fmla="*/ 1971583 w 2920154"/>
              <a:gd name="connsiteY54" fmla="*/ 1815342 h 2920216"/>
              <a:gd name="connsiteX55" fmla="*/ 1949855 w 2920154"/>
              <a:gd name="connsiteY55" fmla="*/ 1815342 h 2920216"/>
              <a:gd name="connsiteX56" fmla="*/ 1956769 w 2920154"/>
              <a:gd name="connsiteY56" fmla="*/ 1807626 h 2920216"/>
              <a:gd name="connsiteX57" fmla="*/ 2113382 w 2920154"/>
              <a:gd name="connsiteY57" fmla="*/ 1608541 h 2920216"/>
              <a:gd name="connsiteX58" fmla="*/ 2195917 w 2920154"/>
              <a:gd name="connsiteY58" fmla="*/ 1430384 h 2920216"/>
              <a:gd name="connsiteX59" fmla="*/ 2158323 w 2920154"/>
              <a:gd name="connsiteY59" fmla="*/ 1296179 h 2920216"/>
              <a:gd name="connsiteX60" fmla="*/ 2115859 w 2920154"/>
              <a:gd name="connsiteY60" fmla="*/ 1267289 h 2920216"/>
              <a:gd name="connsiteX61" fmla="*/ 2076786 w 2920154"/>
              <a:gd name="connsiteY61" fmla="*/ 1256831 h 2920216"/>
              <a:gd name="connsiteX62" fmla="*/ 2076220 w 2920154"/>
              <a:gd name="connsiteY62" fmla="*/ 1288648 h 2920216"/>
              <a:gd name="connsiteX63" fmla="*/ 1997142 w 2920154"/>
              <a:gd name="connsiteY63" fmla="*/ 1502857 h 2920216"/>
              <a:gd name="connsiteX64" fmla="*/ 1788674 w 2920154"/>
              <a:gd name="connsiteY64" fmla="*/ 1814170 h 2920216"/>
              <a:gd name="connsiteX65" fmla="*/ 1787254 w 2920154"/>
              <a:gd name="connsiteY65" fmla="*/ 1815960 h 2920216"/>
              <a:gd name="connsiteX66" fmla="*/ 1713114 w 2920154"/>
              <a:gd name="connsiteY66" fmla="*/ 1815960 h 2920216"/>
              <a:gd name="connsiteX67" fmla="*/ 1713616 w 2920154"/>
              <a:gd name="connsiteY67" fmla="*/ 1815342 h 2920216"/>
              <a:gd name="connsiteX68" fmla="*/ 1691940 w 2920154"/>
              <a:gd name="connsiteY68" fmla="*/ 1815342 h 2920216"/>
              <a:gd name="connsiteX69" fmla="*/ 1698052 w 2920154"/>
              <a:gd name="connsiteY69" fmla="*/ 1807811 h 2920216"/>
              <a:gd name="connsiteX70" fmla="*/ 1996462 w 2920154"/>
              <a:gd name="connsiteY70" fmla="*/ 1283956 h 2920216"/>
              <a:gd name="connsiteX71" fmla="*/ 1955534 w 2920154"/>
              <a:gd name="connsiteY71" fmla="*/ 1118454 h 2920216"/>
              <a:gd name="connsiteX72" fmla="*/ 1828991 w 2920154"/>
              <a:gd name="connsiteY72" fmla="*/ 1054127 h 2920216"/>
              <a:gd name="connsiteX73" fmla="*/ 1784872 w 2920154"/>
              <a:gd name="connsiteY73" fmla="*/ 1050922 h 2920216"/>
              <a:gd name="connsiteX74" fmla="*/ 1733424 w 2920154"/>
              <a:gd name="connsiteY74" fmla="*/ 1055248 h 2920216"/>
              <a:gd name="connsiteX75" fmla="*/ 1510696 w 2920154"/>
              <a:gd name="connsiteY75" fmla="*/ 1175247 h 2920216"/>
              <a:gd name="connsiteX76" fmla="*/ 1510696 w 2920154"/>
              <a:gd name="connsiteY76" fmla="*/ 1802070 h 2920216"/>
              <a:gd name="connsiteX77" fmla="*/ 1510696 w 2920154"/>
              <a:gd name="connsiteY77" fmla="*/ 1816022 h 2920216"/>
              <a:gd name="connsiteX78" fmla="*/ 1452113 w 2920154"/>
              <a:gd name="connsiteY78" fmla="*/ 1816022 h 2920216"/>
              <a:gd name="connsiteX79" fmla="*/ 1452113 w 2920154"/>
              <a:gd name="connsiteY79" fmla="*/ 1815404 h 2920216"/>
              <a:gd name="connsiteX80" fmla="*/ 1430877 w 2920154"/>
              <a:gd name="connsiteY80" fmla="*/ 1815404 h 2920216"/>
              <a:gd name="connsiteX81" fmla="*/ 1430877 w 2920154"/>
              <a:gd name="connsiteY81" fmla="*/ 1174629 h 2920216"/>
              <a:gd name="connsiteX82" fmla="*/ 1208150 w 2920154"/>
              <a:gd name="connsiteY82" fmla="*/ 1054630 h 2920216"/>
              <a:gd name="connsiteX83" fmla="*/ 1164594 w 2920154"/>
              <a:gd name="connsiteY83" fmla="*/ 1050968 h 2920216"/>
              <a:gd name="connsiteX84" fmla="*/ 1112547 w 2920154"/>
              <a:gd name="connsiteY84" fmla="*/ 1054755 h 2920216"/>
              <a:gd name="connsiteX85" fmla="*/ 985977 w 2920154"/>
              <a:gd name="connsiteY85" fmla="*/ 1119133 h 2920216"/>
              <a:gd name="connsiteX86" fmla="*/ 943984 w 2920154"/>
              <a:gd name="connsiteY86" fmla="*/ 1225350 h 2920216"/>
              <a:gd name="connsiteX87" fmla="*/ 943405 w 2920154"/>
              <a:gd name="connsiteY87" fmla="*/ 1254778 h 2920216"/>
              <a:gd name="connsiteX88" fmla="*/ 944286 w 2920154"/>
              <a:gd name="connsiteY88" fmla="*/ 1264777 h 2920216"/>
              <a:gd name="connsiteX89" fmla="*/ 945049 w 2920154"/>
              <a:gd name="connsiteY89" fmla="*/ 1270252 h 2920216"/>
              <a:gd name="connsiteX90" fmla="*/ 1243522 w 2920154"/>
              <a:gd name="connsiteY90" fmla="*/ 1794477 h 2920216"/>
              <a:gd name="connsiteX91" fmla="*/ 1249633 w 2920154"/>
              <a:gd name="connsiteY91" fmla="*/ 1802008 h 2920216"/>
              <a:gd name="connsiteX92" fmla="*/ 1238401 w 2920154"/>
              <a:gd name="connsiteY92" fmla="*/ 1802008 h 2920216"/>
              <a:gd name="connsiteX93" fmla="*/ 1239906 w 2920154"/>
              <a:gd name="connsiteY93" fmla="*/ 1803914 h 2920216"/>
              <a:gd name="connsiteX94" fmla="*/ 1243522 w 2920154"/>
              <a:gd name="connsiteY94" fmla="*/ 1808429 h 2920216"/>
              <a:gd name="connsiteX95" fmla="*/ 1249633 w 2920154"/>
              <a:gd name="connsiteY95" fmla="*/ 1815960 h 2920216"/>
              <a:gd name="connsiteX96" fmla="*/ 1175493 w 2920154"/>
              <a:gd name="connsiteY96" fmla="*/ 1815960 h 2920216"/>
              <a:gd name="connsiteX97" fmla="*/ 1175003 w 2920154"/>
              <a:gd name="connsiteY97" fmla="*/ 1815342 h 2920216"/>
              <a:gd name="connsiteX98" fmla="*/ 1154257 w 2920154"/>
              <a:gd name="connsiteY98" fmla="*/ 1815342 h 2920216"/>
              <a:gd name="connsiteX99" fmla="*/ 1152838 w 2920154"/>
              <a:gd name="connsiteY99" fmla="*/ 1813552 h 2920216"/>
              <a:gd name="connsiteX100" fmla="*/ 944308 w 2920154"/>
              <a:gd name="connsiteY100" fmla="*/ 1502239 h 2920216"/>
              <a:gd name="connsiteX101" fmla="*/ 865292 w 2920154"/>
              <a:gd name="connsiteY101" fmla="*/ 1288031 h 2920216"/>
              <a:gd name="connsiteX102" fmla="*/ 864746 w 2920154"/>
              <a:gd name="connsiteY102" fmla="*/ 1257454 h 2920216"/>
              <a:gd name="connsiteX103" fmla="*/ 825660 w 2920154"/>
              <a:gd name="connsiteY103" fmla="*/ 1267907 h 2920216"/>
              <a:gd name="connsiteX104" fmla="*/ 783189 w 2920154"/>
              <a:gd name="connsiteY104" fmla="*/ 1296797 h 2920216"/>
              <a:gd name="connsiteX105" fmla="*/ 752848 w 2920154"/>
              <a:gd name="connsiteY105" fmla="*/ 1352556 h 2920216"/>
              <a:gd name="connsiteX106" fmla="*/ 746521 w 2920154"/>
              <a:gd name="connsiteY106" fmla="*/ 1421575 h 2920216"/>
              <a:gd name="connsiteX107" fmla="*/ 752032 w 2920154"/>
              <a:gd name="connsiteY107" fmla="*/ 1450442 h 2920216"/>
              <a:gd name="connsiteX108" fmla="*/ 828129 w 2920154"/>
              <a:gd name="connsiteY108" fmla="*/ 1595207 h 2920216"/>
              <a:gd name="connsiteX109" fmla="*/ 984743 w 2920154"/>
              <a:gd name="connsiteY109" fmla="*/ 1794291 h 2920216"/>
              <a:gd name="connsiteX110" fmla="*/ 991657 w 2920154"/>
              <a:gd name="connsiteY110" fmla="*/ 1802008 h 2920216"/>
              <a:gd name="connsiteX111" fmla="*/ 979507 w 2920154"/>
              <a:gd name="connsiteY111" fmla="*/ 1802008 h 2920216"/>
              <a:gd name="connsiteX112" fmla="*/ 984743 w 2920154"/>
              <a:gd name="connsiteY112" fmla="*/ 1808244 h 2920216"/>
              <a:gd name="connsiteX113" fmla="*/ 991657 w 2920154"/>
              <a:gd name="connsiteY113" fmla="*/ 1815960 h 2920216"/>
              <a:gd name="connsiteX114" fmla="*/ 913937 w 2920154"/>
              <a:gd name="connsiteY114" fmla="*/ 1815960 h 2920216"/>
              <a:gd name="connsiteX115" fmla="*/ 913414 w 2920154"/>
              <a:gd name="connsiteY115" fmla="*/ 1815342 h 2920216"/>
              <a:gd name="connsiteX116" fmla="*/ 892701 w 2920154"/>
              <a:gd name="connsiteY116" fmla="*/ 1815342 h 2920216"/>
              <a:gd name="connsiteX117" fmla="*/ 891342 w 2920154"/>
              <a:gd name="connsiteY117" fmla="*/ 1813737 h 2920216"/>
              <a:gd name="connsiteX118" fmla="*/ 665960 w 2920154"/>
              <a:gd name="connsiteY118" fmla="*/ 1433347 h 2920216"/>
              <a:gd name="connsiteX119" fmla="*/ 777659 w 2920154"/>
              <a:gd name="connsiteY119" fmla="*/ 1215575 h 2920216"/>
              <a:gd name="connsiteX120" fmla="*/ 782871 w 2920154"/>
              <a:gd name="connsiteY120" fmla="*/ 1214227 h 2920216"/>
              <a:gd name="connsiteX121" fmla="*/ 798895 w 2920154"/>
              <a:gd name="connsiteY121" fmla="*/ 1202240 h 2920216"/>
              <a:gd name="connsiteX122" fmla="*/ 871960 w 2920154"/>
              <a:gd name="connsiteY122" fmla="*/ 1183344 h 2920216"/>
              <a:gd name="connsiteX123" fmla="*/ 881182 w 2920154"/>
              <a:gd name="connsiteY123" fmla="*/ 1146514 h 2920216"/>
              <a:gd name="connsiteX124" fmla="*/ 958330 w 2920154"/>
              <a:gd name="connsiteY124" fmla="*/ 1043673 h 2920216"/>
              <a:gd name="connsiteX125" fmla="*/ 973769 w 2920154"/>
              <a:gd name="connsiteY125" fmla="*/ 1036532 h 2920216"/>
              <a:gd name="connsiteX126" fmla="*/ 979565 w 2920154"/>
              <a:gd name="connsiteY126" fmla="*/ 1030285 h 2920216"/>
              <a:gd name="connsiteX127" fmla="*/ 1171975 w 2920154"/>
              <a:gd name="connsiteY127" fmla="*/ 977829 h 2920216"/>
              <a:gd name="connsiteX128" fmla="*/ 1263909 w 2920154"/>
              <a:gd name="connsiteY128" fmla="*/ 988439 h 2920216"/>
              <a:gd name="connsiteX129" fmla="*/ 1334979 w 2920154"/>
              <a:gd name="connsiteY129" fmla="*/ 1013404 h 2920216"/>
              <a:gd name="connsiteX130" fmla="*/ 1337911 w 2920154"/>
              <a:gd name="connsiteY130" fmla="*/ 985744 h 2920216"/>
              <a:gd name="connsiteX131" fmla="*/ 1391583 w 2920154"/>
              <a:gd name="connsiteY131" fmla="*/ 917133 h 2920216"/>
              <a:gd name="connsiteX132" fmla="*/ 1403456 w 2920154"/>
              <a:gd name="connsiteY132" fmla="*/ 912093 h 2920216"/>
              <a:gd name="connsiteX133" fmla="*/ 1412819 w 2920154"/>
              <a:gd name="connsiteY133" fmla="*/ 903711 h 2920216"/>
              <a:gd name="connsiteX134" fmla="*/ 1430815 w 2920154"/>
              <a:gd name="connsiteY134" fmla="*/ 896084 h 2920216"/>
              <a:gd name="connsiteX135" fmla="*/ 1430815 w 2920154"/>
              <a:gd name="connsiteY135" fmla="*/ 823562 h 2920216"/>
              <a:gd name="connsiteX136" fmla="*/ 1439404 w 2920154"/>
              <a:gd name="connsiteY136" fmla="*/ 802835 h 2920216"/>
              <a:gd name="connsiteX137" fmla="*/ 1458354 w 2920154"/>
              <a:gd name="connsiteY137" fmla="*/ 794955 h 2920216"/>
              <a:gd name="connsiteX138" fmla="*/ 1460640 w 2920154"/>
              <a:gd name="connsiteY138" fmla="*/ 789439 h 2920216"/>
              <a:gd name="connsiteX139" fmla="*/ 1481312 w 2920154"/>
              <a:gd name="connsiteY139" fmla="*/ 780843 h 2920216"/>
              <a:gd name="connsiteX140" fmla="*/ 1555329 w 2920154"/>
              <a:gd name="connsiteY140" fmla="*/ 706642 h 2920216"/>
              <a:gd name="connsiteX141" fmla="*/ 1654161 w 2920154"/>
              <a:gd name="connsiteY141" fmla="*/ 706642 h 2920216"/>
              <a:gd name="connsiteX142" fmla="*/ 1683483 w 2920154"/>
              <a:gd name="connsiteY142" fmla="*/ 735965 h 2920216"/>
              <a:gd name="connsiteX143" fmla="*/ 1680590 w 2920154"/>
              <a:gd name="connsiteY143" fmla="*/ 742940 h 2920216"/>
              <a:gd name="connsiteX144" fmla="*/ 1683483 w 2920154"/>
              <a:gd name="connsiteY144" fmla="*/ 749915 h 2920216"/>
              <a:gd name="connsiteX145" fmla="*/ 1654161 w 2920154"/>
              <a:gd name="connsiteY145" fmla="*/ 779238 h 2920216"/>
              <a:gd name="connsiteX146" fmla="*/ 1555329 w 2920154"/>
              <a:gd name="connsiteY146" fmla="*/ 779238 h 2920216"/>
              <a:gd name="connsiteX147" fmla="*/ 1553841 w 2920154"/>
              <a:gd name="connsiteY147" fmla="*/ 778621 h 2920216"/>
              <a:gd name="connsiteX148" fmla="*/ 1534093 w 2920154"/>
              <a:gd name="connsiteY148" fmla="*/ 778621 h 2920216"/>
              <a:gd name="connsiteX149" fmla="*/ 1504770 w 2920154"/>
              <a:gd name="connsiteY149" fmla="*/ 749299 h 2920216"/>
              <a:gd name="connsiteX150" fmla="*/ 1513366 w 2920154"/>
              <a:gd name="connsiteY150" fmla="*/ 728572 h 2920216"/>
              <a:gd name="connsiteX151" fmla="*/ 1532335 w 2920154"/>
              <a:gd name="connsiteY151" fmla="*/ 720705 h 2920216"/>
              <a:gd name="connsiteX152" fmla="*/ 1534602 w 2920154"/>
              <a:gd name="connsiteY152" fmla="*/ 715238 h 2920216"/>
              <a:gd name="connsiteX153" fmla="*/ 1555329 w 2920154"/>
              <a:gd name="connsiteY153" fmla="*/ 706642 h 2920216"/>
              <a:gd name="connsiteX154" fmla="*/ 1308526 w 2920154"/>
              <a:gd name="connsiteY154" fmla="*/ 706642 h 2920216"/>
              <a:gd name="connsiteX155" fmla="*/ 1407358 w 2920154"/>
              <a:gd name="connsiteY155" fmla="*/ 706642 h 2920216"/>
              <a:gd name="connsiteX156" fmla="*/ 1436680 w 2920154"/>
              <a:gd name="connsiteY156" fmla="*/ 735965 h 2920216"/>
              <a:gd name="connsiteX157" fmla="*/ 1433787 w 2920154"/>
              <a:gd name="connsiteY157" fmla="*/ 742940 h 2920216"/>
              <a:gd name="connsiteX158" fmla="*/ 1436680 w 2920154"/>
              <a:gd name="connsiteY158" fmla="*/ 749915 h 2920216"/>
              <a:gd name="connsiteX159" fmla="*/ 1407358 w 2920154"/>
              <a:gd name="connsiteY159" fmla="*/ 779238 h 2920216"/>
              <a:gd name="connsiteX160" fmla="*/ 1308526 w 2920154"/>
              <a:gd name="connsiteY160" fmla="*/ 779238 h 2920216"/>
              <a:gd name="connsiteX161" fmla="*/ 1307039 w 2920154"/>
              <a:gd name="connsiteY161" fmla="*/ 778621 h 2920216"/>
              <a:gd name="connsiteX162" fmla="*/ 1287290 w 2920154"/>
              <a:gd name="connsiteY162" fmla="*/ 778621 h 2920216"/>
              <a:gd name="connsiteX163" fmla="*/ 1257967 w 2920154"/>
              <a:gd name="connsiteY163" fmla="*/ 749299 h 2920216"/>
              <a:gd name="connsiteX164" fmla="*/ 1266563 w 2920154"/>
              <a:gd name="connsiteY164" fmla="*/ 728572 h 2920216"/>
              <a:gd name="connsiteX165" fmla="*/ 1285532 w 2920154"/>
              <a:gd name="connsiteY165" fmla="*/ 720705 h 2920216"/>
              <a:gd name="connsiteX166" fmla="*/ 1287799 w 2920154"/>
              <a:gd name="connsiteY166" fmla="*/ 715238 h 2920216"/>
              <a:gd name="connsiteX167" fmla="*/ 1308526 w 2920154"/>
              <a:gd name="connsiteY167" fmla="*/ 706642 h 2920216"/>
              <a:gd name="connsiteX168" fmla="*/ 1481313 w 2920154"/>
              <a:gd name="connsiteY168" fmla="*/ 533608 h 2920216"/>
              <a:gd name="connsiteX169" fmla="*/ 1510635 w 2920154"/>
              <a:gd name="connsiteY169" fmla="*/ 562931 h 2920216"/>
              <a:gd name="connsiteX170" fmla="*/ 1510635 w 2920154"/>
              <a:gd name="connsiteY170" fmla="*/ 576882 h 2920216"/>
              <a:gd name="connsiteX171" fmla="*/ 1510635 w 2920154"/>
              <a:gd name="connsiteY171" fmla="*/ 661639 h 2920216"/>
              <a:gd name="connsiteX172" fmla="*/ 1510635 w 2920154"/>
              <a:gd name="connsiteY172" fmla="*/ 675590 h 2920216"/>
              <a:gd name="connsiteX173" fmla="*/ 1481313 w 2920154"/>
              <a:gd name="connsiteY173" fmla="*/ 704913 h 2920216"/>
              <a:gd name="connsiteX174" fmla="*/ 1469951 w 2920154"/>
              <a:gd name="connsiteY174" fmla="*/ 700201 h 2920216"/>
              <a:gd name="connsiteX175" fmla="*/ 1460077 w 2920154"/>
              <a:gd name="connsiteY175" fmla="*/ 704296 h 2920216"/>
              <a:gd name="connsiteX176" fmla="*/ 1430754 w 2920154"/>
              <a:gd name="connsiteY176" fmla="*/ 674973 h 2920216"/>
              <a:gd name="connsiteX177" fmla="*/ 1430754 w 2920154"/>
              <a:gd name="connsiteY177" fmla="*/ 576265 h 2920216"/>
              <a:gd name="connsiteX178" fmla="*/ 1439350 w 2920154"/>
              <a:gd name="connsiteY178" fmla="*/ 555538 h 2920216"/>
              <a:gd name="connsiteX179" fmla="*/ 1458319 w 2920154"/>
              <a:gd name="connsiteY179" fmla="*/ 547671 h 2920216"/>
              <a:gd name="connsiteX180" fmla="*/ 1460586 w 2920154"/>
              <a:gd name="connsiteY180" fmla="*/ 542204 h 2920216"/>
              <a:gd name="connsiteX181" fmla="*/ 1481313 w 2920154"/>
              <a:gd name="connsiteY181" fmla="*/ 533608 h 2920216"/>
              <a:gd name="connsiteX182" fmla="*/ 1460077 w 2920154"/>
              <a:gd name="connsiteY182" fmla="*/ 74078 h 2920216"/>
              <a:gd name="connsiteX183" fmla="*/ 480025 w 2920154"/>
              <a:gd name="connsiteY183" fmla="*/ 480025 h 2920216"/>
              <a:gd name="connsiteX184" fmla="*/ 74078 w 2920154"/>
              <a:gd name="connsiteY184" fmla="*/ 1460139 h 2920216"/>
              <a:gd name="connsiteX185" fmla="*/ 480025 w 2920154"/>
              <a:gd name="connsiteY185" fmla="*/ 2440190 h 2920216"/>
              <a:gd name="connsiteX186" fmla="*/ 1460077 w 2920154"/>
              <a:gd name="connsiteY186" fmla="*/ 2846138 h 2920216"/>
              <a:gd name="connsiteX187" fmla="*/ 2440129 w 2920154"/>
              <a:gd name="connsiteY187" fmla="*/ 2440190 h 2920216"/>
              <a:gd name="connsiteX188" fmla="*/ 2846076 w 2920154"/>
              <a:gd name="connsiteY188" fmla="*/ 1460139 h 2920216"/>
              <a:gd name="connsiteX189" fmla="*/ 2440129 w 2920154"/>
              <a:gd name="connsiteY189" fmla="*/ 480087 h 2920216"/>
              <a:gd name="connsiteX190" fmla="*/ 1460077 w 2920154"/>
              <a:gd name="connsiteY190" fmla="*/ 74078 h 2920216"/>
              <a:gd name="connsiteX191" fmla="*/ 1460077 w 2920154"/>
              <a:gd name="connsiteY191" fmla="*/ 0 h 2920216"/>
              <a:gd name="connsiteX192" fmla="*/ 2492477 w 2920154"/>
              <a:gd name="connsiteY192" fmla="*/ 427677 h 2920216"/>
              <a:gd name="connsiteX193" fmla="*/ 2920154 w 2920154"/>
              <a:gd name="connsiteY193" fmla="*/ 1460139 h 2920216"/>
              <a:gd name="connsiteX194" fmla="*/ 2492477 w 2920154"/>
              <a:gd name="connsiteY194" fmla="*/ 2492601 h 2920216"/>
              <a:gd name="connsiteX195" fmla="*/ 1460077 w 2920154"/>
              <a:gd name="connsiteY195" fmla="*/ 2920216 h 2920216"/>
              <a:gd name="connsiteX196" fmla="*/ 1460077 w 2920154"/>
              <a:gd name="connsiteY196" fmla="*/ 2920154 h 2920216"/>
              <a:gd name="connsiteX197" fmla="*/ 427615 w 2920154"/>
              <a:gd name="connsiteY197" fmla="*/ 2492539 h 2920216"/>
              <a:gd name="connsiteX198" fmla="*/ 0 w 2920154"/>
              <a:gd name="connsiteY198" fmla="*/ 1460139 h 2920216"/>
              <a:gd name="connsiteX199" fmla="*/ 427677 w 2920154"/>
              <a:gd name="connsiteY199" fmla="*/ 427677 h 2920216"/>
              <a:gd name="connsiteX200" fmla="*/ 1460077 w 2920154"/>
              <a:gd name="connsiteY200" fmla="*/ 0 h 292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920154" h="2920216">
                <a:moveTo>
                  <a:pt x="908875" y="2064244"/>
                </a:moveTo>
                <a:lnTo>
                  <a:pt x="2053750" y="2064244"/>
                </a:lnTo>
                <a:lnTo>
                  <a:pt x="2053750" y="2078196"/>
                </a:lnTo>
                <a:lnTo>
                  <a:pt x="2053750" y="2122889"/>
                </a:lnTo>
                <a:lnTo>
                  <a:pt x="2053750" y="2136841"/>
                </a:lnTo>
                <a:lnTo>
                  <a:pt x="908875" y="2136841"/>
                </a:lnTo>
                <a:lnTo>
                  <a:pt x="908875" y="2136223"/>
                </a:lnTo>
                <a:lnTo>
                  <a:pt x="887639" y="2136223"/>
                </a:lnTo>
                <a:lnTo>
                  <a:pt x="887639" y="2077578"/>
                </a:lnTo>
                <a:lnTo>
                  <a:pt x="908875" y="2077578"/>
                </a:lnTo>
                <a:close/>
                <a:moveTo>
                  <a:pt x="908875" y="1965535"/>
                </a:moveTo>
                <a:lnTo>
                  <a:pt x="2053750" y="1965535"/>
                </a:lnTo>
                <a:lnTo>
                  <a:pt x="2053750" y="1979487"/>
                </a:lnTo>
                <a:lnTo>
                  <a:pt x="2053750" y="2024180"/>
                </a:lnTo>
                <a:lnTo>
                  <a:pt x="2053750" y="2038132"/>
                </a:lnTo>
                <a:lnTo>
                  <a:pt x="908875" y="2038132"/>
                </a:lnTo>
                <a:lnTo>
                  <a:pt x="908875" y="2037514"/>
                </a:lnTo>
                <a:lnTo>
                  <a:pt x="887639" y="2037514"/>
                </a:lnTo>
                <a:lnTo>
                  <a:pt x="887639" y="1978869"/>
                </a:lnTo>
                <a:lnTo>
                  <a:pt x="908875" y="1978869"/>
                </a:lnTo>
                <a:close/>
                <a:moveTo>
                  <a:pt x="908875" y="1866826"/>
                </a:moveTo>
                <a:lnTo>
                  <a:pt x="2053750" y="1866826"/>
                </a:lnTo>
                <a:lnTo>
                  <a:pt x="2053750" y="1880778"/>
                </a:lnTo>
                <a:lnTo>
                  <a:pt x="2053750" y="1925471"/>
                </a:lnTo>
                <a:lnTo>
                  <a:pt x="2053750" y="1939423"/>
                </a:lnTo>
                <a:lnTo>
                  <a:pt x="908875" y="1939423"/>
                </a:lnTo>
                <a:lnTo>
                  <a:pt x="908875" y="1938805"/>
                </a:lnTo>
                <a:lnTo>
                  <a:pt x="887639" y="1938805"/>
                </a:lnTo>
                <a:lnTo>
                  <a:pt x="887639" y="1880160"/>
                </a:lnTo>
                <a:lnTo>
                  <a:pt x="908875" y="1880160"/>
                </a:lnTo>
                <a:close/>
                <a:moveTo>
                  <a:pt x="1474198" y="954491"/>
                </a:moveTo>
                <a:lnTo>
                  <a:pt x="1440416" y="964842"/>
                </a:lnTo>
                <a:cubicBezTo>
                  <a:pt x="1428701" y="972775"/>
                  <a:pt x="1419387" y="984006"/>
                  <a:pt x="1413811" y="997197"/>
                </a:cubicBezTo>
                <a:lnTo>
                  <a:pt x="1409446" y="1018819"/>
                </a:lnTo>
                <a:lnTo>
                  <a:pt x="1413811" y="1040441"/>
                </a:lnTo>
                <a:cubicBezTo>
                  <a:pt x="1424963" y="1066822"/>
                  <a:pt x="1451064" y="1085365"/>
                  <a:pt x="1481436" y="1085365"/>
                </a:cubicBezTo>
                <a:lnTo>
                  <a:pt x="1513081" y="1075668"/>
                </a:lnTo>
                <a:lnTo>
                  <a:pt x="1527824" y="1053775"/>
                </a:lnTo>
                <a:cubicBezTo>
                  <a:pt x="1531542" y="1044981"/>
                  <a:pt x="1533598" y="1035316"/>
                  <a:pt x="1533598" y="1025177"/>
                </a:cubicBezTo>
                <a:cubicBezTo>
                  <a:pt x="1533598" y="994758"/>
                  <a:pt x="1515091" y="968612"/>
                  <a:pt x="1488753" y="957439"/>
                </a:cubicBezTo>
                <a:close/>
                <a:moveTo>
                  <a:pt x="1481312" y="780843"/>
                </a:moveTo>
                <a:cubicBezTo>
                  <a:pt x="1497424" y="780843"/>
                  <a:pt x="1510573" y="793992"/>
                  <a:pt x="1510573" y="810166"/>
                </a:cubicBezTo>
                <a:lnTo>
                  <a:pt x="1510573" y="824118"/>
                </a:lnTo>
                <a:lnTo>
                  <a:pt x="1510573" y="887083"/>
                </a:lnTo>
                <a:cubicBezTo>
                  <a:pt x="1565267" y="900047"/>
                  <a:pt x="1614591" y="951901"/>
                  <a:pt x="1608541" y="1020115"/>
                </a:cubicBezTo>
                <a:cubicBezTo>
                  <a:pt x="1667803" y="992027"/>
                  <a:pt x="1729041" y="977829"/>
                  <a:pt x="1790649" y="977829"/>
                </a:cubicBezTo>
                <a:cubicBezTo>
                  <a:pt x="1949300" y="977829"/>
                  <a:pt x="2051466" y="1050919"/>
                  <a:pt x="2071528" y="1178395"/>
                </a:cubicBezTo>
                <a:lnTo>
                  <a:pt x="2071590" y="1178395"/>
                </a:lnTo>
                <a:cubicBezTo>
                  <a:pt x="2212215" y="1193210"/>
                  <a:pt x="2282712" y="1276672"/>
                  <a:pt x="2275490" y="1420012"/>
                </a:cubicBezTo>
                <a:lnTo>
                  <a:pt x="2274628" y="1424789"/>
                </a:lnTo>
                <a:lnTo>
                  <a:pt x="2275490" y="1433965"/>
                </a:lnTo>
                <a:cubicBezTo>
                  <a:pt x="2269996" y="1543168"/>
                  <a:pt x="2131902" y="1719165"/>
                  <a:pt x="2050108" y="1814355"/>
                </a:cubicBezTo>
                <a:lnTo>
                  <a:pt x="2048749" y="1815960"/>
                </a:lnTo>
                <a:lnTo>
                  <a:pt x="1971029" y="1815960"/>
                </a:lnTo>
                <a:lnTo>
                  <a:pt x="1971583" y="1815342"/>
                </a:lnTo>
                <a:lnTo>
                  <a:pt x="1949855" y="1815342"/>
                </a:lnTo>
                <a:lnTo>
                  <a:pt x="1956769" y="1807626"/>
                </a:lnTo>
                <a:cubicBezTo>
                  <a:pt x="2014920" y="1742807"/>
                  <a:pt x="2072022" y="1670211"/>
                  <a:pt x="2113382" y="1608541"/>
                </a:cubicBezTo>
                <a:cubicBezTo>
                  <a:pt x="2165422" y="1531006"/>
                  <a:pt x="2193942" y="1469398"/>
                  <a:pt x="2195917" y="1430384"/>
                </a:cubicBezTo>
                <a:cubicBezTo>
                  <a:pt x="2198881" y="1370751"/>
                  <a:pt x="2186225" y="1325563"/>
                  <a:pt x="2158323" y="1296179"/>
                </a:cubicBezTo>
                <a:cubicBezTo>
                  <a:pt x="2147211" y="1284450"/>
                  <a:pt x="2133013" y="1274804"/>
                  <a:pt x="2115859" y="1267289"/>
                </a:cubicBezTo>
                <a:lnTo>
                  <a:pt x="2076786" y="1256831"/>
                </a:lnTo>
                <a:lnTo>
                  <a:pt x="2076220" y="1288648"/>
                </a:lnTo>
                <a:cubicBezTo>
                  <a:pt x="2071343" y="1343096"/>
                  <a:pt x="2044737" y="1415136"/>
                  <a:pt x="1997142" y="1502857"/>
                </a:cubicBezTo>
                <a:cubicBezTo>
                  <a:pt x="1973992" y="1545575"/>
                  <a:pt x="1907199" y="1661446"/>
                  <a:pt x="1788674" y="1814170"/>
                </a:cubicBezTo>
                <a:lnTo>
                  <a:pt x="1787254" y="1815960"/>
                </a:lnTo>
                <a:lnTo>
                  <a:pt x="1713114" y="1815960"/>
                </a:lnTo>
                <a:lnTo>
                  <a:pt x="1713616" y="1815342"/>
                </a:lnTo>
                <a:lnTo>
                  <a:pt x="1691940" y="1815342"/>
                </a:lnTo>
                <a:lnTo>
                  <a:pt x="1698052" y="1807811"/>
                </a:lnTo>
                <a:cubicBezTo>
                  <a:pt x="1700891" y="1804354"/>
                  <a:pt x="1978869" y="1460323"/>
                  <a:pt x="1996462" y="1283956"/>
                </a:cubicBezTo>
                <a:cubicBezTo>
                  <a:pt x="1997141" y="1279635"/>
                  <a:pt x="2012266" y="1185494"/>
                  <a:pt x="1955534" y="1118454"/>
                </a:cubicBezTo>
                <a:cubicBezTo>
                  <a:pt x="1926644" y="1084285"/>
                  <a:pt x="1884211" y="1062756"/>
                  <a:pt x="1828991" y="1054127"/>
                </a:cubicBezTo>
                <a:lnTo>
                  <a:pt x="1784872" y="1050922"/>
                </a:lnTo>
                <a:lnTo>
                  <a:pt x="1733424" y="1055248"/>
                </a:lnTo>
                <a:cubicBezTo>
                  <a:pt x="1605628" y="1076791"/>
                  <a:pt x="1521391" y="1163688"/>
                  <a:pt x="1510696" y="1175247"/>
                </a:cubicBezTo>
                <a:lnTo>
                  <a:pt x="1510696" y="1802070"/>
                </a:lnTo>
                <a:lnTo>
                  <a:pt x="1510696" y="1816022"/>
                </a:lnTo>
                <a:lnTo>
                  <a:pt x="1452113" y="1816022"/>
                </a:lnTo>
                <a:lnTo>
                  <a:pt x="1452113" y="1815404"/>
                </a:lnTo>
                <a:lnTo>
                  <a:pt x="1430877" y="1815404"/>
                </a:lnTo>
                <a:lnTo>
                  <a:pt x="1430877" y="1174629"/>
                </a:lnTo>
                <a:cubicBezTo>
                  <a:pt x="1420182" y="1163070"/>
                  <a:pt x="1335946" y="1076173"/>
                  <a:pt x="1208150" y="1054630"/>
                </a:cubicBezTo>
                <a:lnTo>
                  <a:pt x="1164594" y="1050968"/>
                </a:lnTo>
                <a:lnTo>
                  <a:pt x="1112547" y="1054755"/>
                </a:lnTo>
                <a:cubicBezTo>
                  <a:pt x="1057301" y="1063401"/>
                  <a:pt x="1014868" y="1084964"/>
                  <a:pt x="985977" y="1119133"/>
                </a:cubicBezTo>
                <a:cubicBezTo>
                  <a:pt x="957612" y="1152684"/>
                  <a:pt x="947210" y="1192964"/>
                  <a:pt x="943984" y="1225350"/>
                </a:cubicBezTo>
                <a:lnTo>
                  <a:pt x="943405" y="1254778"/>
                </a:lnTo>
                <a:lnTo>
                  <a:pt x="944286" y="1264777"/>
                </a:lnTo>
                <a:cubicBezTo>
                  <a:pt x="944654" y="1267857"/>
                  <a:pt x="944964" y="1269758"/>
                  <a:pt x="945049" y="1270252"/>
                </a:cubicBezTo>
                <a:cubicBezTo>
                  <a:pt x="962704" y="1447051"/>
                  <a:pt x="1240744" y="1791020"/>
                  <a:pt x="1243522" y="1794477"/>
                </a:cubicBezTo>
                <a:lnTo>
                  <a:pt x="1249633" y="1802008"/>
                </a:lnTo>
                <a:lnTo>
                  <a:pt x="1238401" y="1802008"/>
                </a:lnTo>
                <a:lnTo>
                  <a:pt x="1239906" y="1803914"/>
                </a:lnTo>
                <a:cubicBezTo>
                  <a:pt x="1242100" y="1806667"/>
                  <a:pt x="1243349" y="1808213"/>
                  <a:pt x="1243522" y="1808429"/>
                </a:cubicBezTo>
                <a:lnTo>
                  <a:pt x="1249633" y="1815960"/>
                </a:lnTo>
                <a:lnTo>
                  <a:pt x="1175493" y="1815960"/>
                </a:lnTo>
                <a:lnTo>
                  <a:pt x="1175003" y="1815342"/>
                </a:lnTo>
                <a:lnTo>
                  <a:pt x="1154257" y="1815342"/>
                </a:lnTo>
                <a:lnTo>
                  <a:pt x="1152838" y="1813552"/>
                </a:lnTo>
                <a:cubicBezTo>
                  <a:pt x="1034251" y="1660828"/>
                  <a:pt x="967519" y="1544958"/>
                  <a:pt x="944308" y="1502239"/>
                </a:cubicBezTo>
                <a:cubicBezTo>
                  <a:pt x="896713" y="1414519"/>
                  <a:pt x="870107" y="1342416"/>
                  <a:pt x="865292" y="1288031"/>
                </a:cubicBezTo>
                <a:lnTo>
                  <a:pt x="864746" y="1257454"/>
                </a:lnTo>
                <a:lnTo>
                  <a:pt x="825660" y="1267907"/>
                </a:lnTo>
                <a:cubicBezTo>
                  <a:pt x="808499" y="1275422"/>
                  <a:pt x="794301" y="1285068"/>
                  <a:pt x="783189" y="1296797"/>
                </a:cubicBezTo>
                <a:cubicBezTo>
                  <a:pt x="769238" y="1311489"/>
                  <a:pt x="759114" y="1330132"/>
                  <a:pt x="752848" y="1352556"/>
                </a:cubicBezTo>
                <a:lnTo>
                  <a:pt x="746521" y="1421575"/>
                </a:lnTo>
                <a:lnTo>
                  <a:pt x="752032" y="1450442"/>
                </a:lnTo>
                <a:cubicBezTo>
                  <a:pt x="763300" y="1487863"/>
                  <a:pt x="789100" y="1537056"/>
                  <a:pt x="828129" y="1595207"/>
                </a:cubicBezTo>
                <a:cubicBezTo>
                  <a:pt x="869551" y="1656877"/>
                  <a:pt x="926592" y="1729473"/>
                  <a:pt x="984743" y="1794291"/>
                </a:cubicBezTo>
                <a:lnTo>
                  <a:pt x="991657" y="1802008"/>
                </a:lnTo>
                <a:lnTo>
                  <a:pt x="979507" y="1802008"/>
                </a:lnTo>
                <a:lnTo>
                  <a:pt x="984743" y="1808244"/>
                </a:lnTo>
                <a:lnTo>
                  <a:pt x="991657" y="1815960"/>
                </a:lnTo>
                <a:lnTo>
                  <a:pt x="913937" y="1815960"/>
                </a:lnTo>
                <a:lnTo>
                  <a:pt x="913414" y="1815342"/>
                </a:lnTo>
                <a:lnTo>
                  <a:pt x="892701" y="1815342"/>
                </a:lnTo>
                <a:lnTo>
                  <a:pt x="891342" y="1813737"/>
                </a:lnTo>
                <a:cubicBezTo>
                  <a:pt x="809548" y="1718547"/>
                  <a:pt x="671454" y="1542550"/>
                  <a:pt x="665960" y="1433347"/>
                </a:cubicBezTo>
                <a:cubicBezTo>
                  <a:pt x="660544" y="1325841"/>
                  <a:pt x="698844" y="1252018"/>
                  <a:pt x="777659" y="1215575"/>
                </a:cubicBezTo>
                <a:lnTo>
                  <a:pt x="782871" y="1214227"/>
                </a:lnTo>
                <a:lnTo>
                  <a:pt x="798895" y="1202240"/>
                </a:lnTo>
                <a:lnTo>
                  <a:pt x="871960" y="1183344"/>
                </a:lnTo>
                <a:lnTo>
                  <a:pt x="881182" y="1146514"/>
                </a:lnTo>
                <a:cubicBezTo>
                  <a:pt x="896253" y="1103924"/>
                  <a:pt x="922419" y="1069317"/>
                  <a:pt x="958330" y="1043673"/>
                </a:cubicBezTo>
                <a:lnTo>
                  <a:pt x="973769" y="1036532"/>
                </a:lnTo>
                <a:lnTo>
                  <a:pt x="979565" y="1030285"/>
                </a:lnTo>
                <a:cubicBezTo>
                  <a:pt x="1027446" y="996086"/>
                  <a:pt x="1092650" y="977829"/>
                  <a:pt x="1171975" y="977829"/>
                </a:cubicBezTo>
                <a:cubicBezTo>
                  <a:pt x="1202779" y="977829"/>
                  <a:pt x="1233491" y="981378"/>
                  <a:pt x="1263909" y="988439"/>
                </a:cubicBezTo>
                <a:lnTo>
                  <a:pt x="1334979" y="1013404"/>
                </a:lnTo>
                <a:lnTo>
                  <a:pt x="1337911" y="985744"/>
                </a:lnTo>
                <a:cubicBezTo>
                  <a:pt x="1347167" y="956426"/>
                  <a:pt x="1367141" y="932624"/>
                  <a:pt x="1391583" y="917133"/>
                </a:cubicBezTo>
                <a:lnTo>
                  <a:pt x="1403456" y="912093"/>
                </a:lnTo>
                <a:lnTo>
                  <a:pt x="1412819" y="903711"/>
                </a:lnTo>
                <a:lnTo>
                  <a:pt x="1430815" y="896084"/>
                </a:lnTo>
                <a:lnTo>
                  <a:pt x="1430815" y="823562"/>
                </a:lnTo>
                <a:cubicBezTo>
                  <a:pt x="1430815" y="815475"/>
                  <a:pt x="1434102" y="808144"/>
                  <a:pt x="1439404" y="802835"/>
                </a:cubicBezTo>
                <a:lnTo>
                  <a:pt x="1458354" y="794955"/>
                </a:lnTo>
                <a:lnTo>
                  <a:pt x="1460640" y="789439"/>
                </a:lnTo>
                <a:cubicBezTo>
                  <a:pt x="1465941" y="784130"/>
                  <a:pt x="1473256" y="780843"/>
                  <a:pt x="1481312" y="780843"/>
                </a:cubicBezTo>
                <a:close/>
                <a:moveTo>
                  <a:pt x="1555329" y="706642"/>
                </a:moveTo>
                <a:lnTo>
                  <a:pt x="1654161" y="706642"/>
                </a:lnTo>
                <a:cubicBezTo>
                  <a:pt x="1670335" y="706642"/>
                  <a:pt x="1683483" y="719791"/>
                  <a:pt x="1683483" y="735965"/>
                </a:cubicBezTo>
                <a:lnTo>
                  <a:pt x="1680590" y="742940"/>
                </a:lnTo>
                <a:lnTo>
                  <a:pt x="1683483" y="749915"/>
                </a:lnTo>
                <a:cubicBezTo>
                  <a:pt x="1683483" y="766089"/>
                  <a:pt x="1670335" y="779238"/>
                  <a:pt x="1654161" y="779238"/>
                </a:cubicBezTo>
                <a:lnTo>
                  <a:pt x="1555329" y="779238"/>
                </a:lnTo>
                <a:lnTo>
                  <a:pt x="1553841" y="778621"/>
                </a:lnTo>
                <a:lnTo>
                  <a:pt x="1534093" y="778621"/>
                </a:lnTo>
                <a:cubicBezTo>
                  <a:pt x="1517919" y="778621"/>
                  <a:pt x="1504770" y="765472"/>
                  <a:pt x="1504770" y="749299"/>
                </a:cubicBezTo>
                <a:cubicBezTo>
                  <a:pt x="1504770" y="741212"/>
                  <a:pt x="1508057" y="733881"/>
                  <a:pt x="1513366" y="728572"/>
                </a:cubicBezTo>
                <a:lnTo>
                  <a:pt x="1532335" y="720705"/>
                </a:lnTo>
                <a:lnTo>
                  <a:pt x="1534602" y="715238"/>
                </a:lnTo>
                <a:cubicBezTo>
                  <a:pt x="1539911" y="709929"/>
                  <a:pt x="1547242" y="706642"/>
                  <a:pt x="1555329" y="706642"/>
                </a:cubicBezTo>
                <a:close/>
                <a:moveTo>
                  <a:pt x="1308526" y="706642"/>
                </a:moveTo>
                <a:lnTo>
                  <a:pt x="1407358" y="706642"/>
                </a:lnTo>
                <a:cubicBezTo>
                  <a:pt x="1423532" y="706642"/>
                  <a:pt x="1436680" y="719791"/>
                  <a:pt x="1436680" y="735965"/>
                </a:cubicBezTo>
                <a:lnTo>
                  <a:pt x="1433787" y="742940"/>
                </a:lnTo>
                <a:lnTo>
                  <a:pt x="1436680" y="749915"/>
                </a:lnTo>
                <a:cubicBezTo>
                  <a:pt x="1436680" y="766089"/>
                  <a:pt x="1423532" y="779238"/>
                  <a:pt x="1407358" y="779238"/>
                </a:cubicBezTo>
                <a:lnTo>
                  <a:pt x="1308526" y="779238"/>
                </a:lnTo>
                <a:lnTo>
                  <a:pt x="1307039" y="778621"/>
                </a:lnTo>
                <a:lnTo>
                  <a:pt x="1287290" y="778621"/>
                </a:lnTo>
                <a:cubicBezTo>
                  <a:pt x="1271116" y="778621"/>
                  <a:pt x="1257967" y="765472"/>
                  <a:pt x="1257967" y="749299"/>
                </a:cubicBezTo>
                <a:cubicBezTo>
                  <a:pt x="1257967" y="741212"/>
                  <a:pt x="1261254" y="733881"/>
                  <a:pt x="1266563" y="728572"/>
                </a:cubicBezTo>
                <a:lnTo>
                  <a:pt x="1285532" y="720705"/>
                </a:lnTo>
                <a:lnTo>
                  <a:pt x="1287799" y="715238"/>
                </a:lnTo>
                <a:cubicBezTo>
                  <a:pt x="1293108" y="709929"/>
                  <a:pt x="1300439" y="706642"/>
                  <a:pt x="1308526" y="706642"/>
                </a:cubicBezTo>
                <a:close/>
                <a:moveTo>
                  <a:pt x="1481313" y="533608"/>
                </a:moveTo>
                <a:cubicBezTo>
                  <a:pt x="1497486" y="533608"/>
                  <a:pt x="1510635" y="546757"/>
                  <a:pt x="1510635" y="562931"/>
                </a:cubicBezTo>
                <a:lnTo>
                  <a:pt x="1510635" y="576882"/>
                </a:lnTo>
                <a:lnTo>
                  <a:pt x="1510635" y="661639"/>
                </a:lnTo>
                <a:lnTo>
                  <a:pt x="1510635" y="675590"/>
                </a:lnTo>
                <a:cubicBezTo>
                  <a:pt x="1510635" y="691764"/>
                  <a:pt x="1497486" y="704913"/>
                  <a:pt x="1481313" y="704913"/>
                </a:cubicBezTo>
                <a:lnTo>
                  <a:pt x="1469951" y="700201"/>
                </a:lnTo>
                <a:lnTo>
                  <a:pt x="1460077" y="704296"/>
                </a:lnTo>
                <a:cubicBezTo>
                  <a:pt x="1443903" y="704296"/>
                  <a:pt x="1430754" y="691147"/>
                  <a:pt x="1430754" y="674973"/>
                </a:cubicBezTo>
                <a:lnTo>
                  <a:pt x="1430754" y="576265"/>
                </a:lnTo>
                <a:cubicBezTo>
                  <a:pt x="1430754" y="568178"/>
                  <a:pt x="1434041" y="560847"/>
                  <a:pt x="1439350" y="555538"/>
                </a:cubicBezTo>
                <a:lnTo>
                  <a:pt x="1458319" y="547671"/>
                </a:lnTo>
                <a:lnTo>
                  <a:pt x="1460586" y="542204"/>
                </a:lnTo>
                <a:cubicBezTo>
                  <a:pt x="1465895" y="536895"/>
                  <a:pt x="1473226" y="533608"/>
                  <a:pt x="1481313" y="533608"/>
                </a:cubicBezTo>
                <a:close/>
                <a:moveTo>
                  <a:pt x="1460077" y="74078"/>
                </a:moveTo>
                <a:cubicBezTo>
                  <a:pt x="1089872" y="74078"/>
                  <a:pt x="741829" y="218221"/>
                  <a:pt x="480025" y="480025"/>
                </a:cubicBezTo>
                <a:cubicBezTo>
                  <a:pt x="218283" y="741829"/>
                  <a:pt x="74078" y="1089872"/>
                  <a:pt x="74078" y="1460139"/>
                </a:cubicBezTo>
                <a:cubicBezTo>
                  <a:pt x="74078" y="1830405"/>
                  <a:pt x="218221" y="2178386"/>
                  <a:pt x="480025" y="2440190"/>
                </a:cubicBezTo>
                <a:cubicBezTo>
                  <a:pt x="741829" y="2701933"/>
                  <a:pt x="1089872" y="2846138"/>
                  <a:pt x="1460077" y="2846138"/>
                </a:cubicBezTo>
                <a:cubicBezTo>
                  <a:pt x="1830282" y="2846138"/>
                  <a:pt x="2178325" y="2701994"/>
                  <a:pt x="2440129" y="2440190"/>
                </a:cubicBezTo>
                <a:cubicBezTo>
                  <a:pt x="2701933" y="2178386"/>
                  <a:pt x="2846076" y="1830344"/>
                  <a:pt x="2846076" y="1460139"/>
                </a:cubicBezTo>
                <a:cubicBezTo>
                  <a:pt x="2846076" y="1089934"/>
                  <a:pt x="2701933" y="741829"/>
                  <a:pt x="2440129" y="480087"/>
                </a:cubicBezTo>
                <a:cubicBezTo>
                  <a:pt x="2178325" y="218345"/>
                  <a:pt x="1830282" y="74078"/>
                  <a:pt x="1460077" y="74078"/>
                </a:cubicBezTo>
                <a:close/>
                <a:moveTo>
                  <a:pt x="1460077" y="0"/>
                </a:moveTo>
                <a:cubicBezTo>
                  <a:pt x="1850098" y="0"/>
                  <a:pt x="2216722" y="151860"/>
                  <a:pt x="2492477" y="427677"/>
                </a:cubicBezTo>
                <a:cubicBezTo>
                  <a:pt x="2768232" y="703494"/>
                  <a:pt x="2920154" y="1070118"/>
                  <a:pt x="2920154" y="1460139"/>
                </a:cubicBezTo>
                <a:cubicBezTo>
                  <a:pt x="2920154" y="1850159"/>
                  <a:pt x="2768294" y="2216784"/>
                  <a:pt x="2492477" y="2492601"/>
                </a:cubicBezTo>
                <a:cubicBezTo>
                  <a:pt x="2216722" y="2768356"/>
                  <a:pt x="1850036" y="2920216"/>
                  <a:pt x="1460077" y="2920216"/>
                </a:cubicBezTo>
                <a:lnTo>
                  <a:pt x="1460077" y="2920154"/>
                </a:lnTo>
                <a:cubicBezTo>
                  <a:pt x="1070056" y="2920154"/>
                  <a:pt x="703432" y="2768294"/>
                  <a:pt x="427615" y="2492539"/>
                </a:cubicBezTo>
                <a:cubicBezTo>
                  <a:pt x="151860" y="2216784"/>
                  <a:pt x="0" y="1850098"/>
                  <a:pt x="0" y="1460139"/>
                </a:cubicBezTo>
                <a:cubicBezTo>
                  <a:pt x="0" y="1070180"/>
                  <a:pt x="151860" y="703432"/>
                  <a:pt x="427677" y="427677"/>
                </a:cubicBezTo>
                <a:cubicBezTo>
                  <a:pt x="703432" y="151922"/>
                  <a:pt x="1070056" y="0"/>
                  <a:pt x="1460077" y="0"/>
                </a:cubicBezTo>
                <a:close/>
              </a:path>
            </a:pathLst>
          </a:custGeom>
          <a:solidFill>
            <a:srgbClr val="FFFFFF"/>
          </a:solidFill>
          <a:ln w="0" cap="flat">
            <a:noFill/>
            <a:prstDash val="solid"/>
            <a:miter/>
          </a:ln>
        </p:spPr>
        <p:txBody>
          <a:bodyPr rtlCol="0" anchor="ctr"/>
          <a:lstStyle/>
          <a:p>
            <a:endParaRPr lang="da-DK" sz="1200" dirty="0"/>
          </a:p>
        </p:txBody>
      </p:sp>
      <p:sp>
        <p:nvSpPr>
          <p:cNvPr id="44" name="Freeform: Shape 43">
            <a:extLst>
              <a:ext uri="{FF2B5EF4-FFF2-40B4-BE49-F238E27FC236}">
                <a16:creationId xmlns:a16="http://schemas.microsoft.com/office/drawing/2014/main" id="{A77EE5B3-68EF-A9CD-13C9-E8F0F45F425F}"/>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425422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DFI_forside_0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Pladsholder til tekst 16"/>
          <p:cNvSpPr>
            <a:spLocks noGrp="1"/>
          </p:cNvSpPr>
          <p:nvPr>
            <p:ph type="body" sz="quarter" idx="11" hasCustomPrompt="1"/>
          </p:nvPr>
        </p:nvSpPr>
        <p:spPr>
          <a:xfrm>
            <a:off x="934139" y="3357159"/>
            <a:ext cx="5855997" cy="360040"/>
          </a:xfrm>
          <a:prstGeom prst="rect">
            <a:avLst/>
          </a:prstGeom>
          <a:effectLst>
            <a:softEdge rad="0"/>
          </a:effectLst>
        </p:spPr>
        <p:txBody>
          <a:bodyPr lIns="0" anchor="t">
            <a:noAutofit/>
          </a:bodyPr>
          <a:lstStyle>
            <a:lvl1pPr marL="0" indent="0" algn="l">
              <a:buNone/>
              <a:defRPr sz="1650" b="0" baseline="0">
                <a:solidFill>
                  <a:schemeClr val="bg1"/>
                </a:solidFill>
                <a:latin typeface="+mn-lt"/>
                <a:ea typeface="Arial" panose="020B0604020202020204" pitchFamily="34" charset="0"/>
                <a:cs typeface="Arial" panose="020B0604020202020204" pitchFamily="34" charset="0"/>
              </a:defRPr>
            </a:lvl1pPr>
          </a:lstStyle>
          <a:p>
            <a:pPr lvl="0"/>
            <a:r>
              <a:rPr lang="da-DK" noProof="0" dirty="0"/>
              <a:t>Klik her for at tilføje en underoverskrift</a:t>
            </a:r>
          </a:p>
        </p:txBody>
      </p:sp>
      <p:sp>
        <p:nvSpPr>
          <p:cNvPr id="11" name="Pladsholder til dato 14"/>
          <p:cNvSpPr>
            <a:spLocks noGrp="1"/>
          </p:cNvSpPr>
          <p:nvPr>
            <p:ph type="dt" sz="half" idx="13"/>
          </p:nvPr>
        </p:nvSpPr>
        <p:spPr>
          <a:xfrm>
            <a:off x="934138" y="4029912"/>
            <a:ext cx="1231973" cy="273844"/>
          </a:xfrm>
          <a:prstGeom prst="rect">
            <a:avLst/>
          </a:prstGeom>
        </p:spPr>
        <p:txBody>
          <a:bodyPr lIns="0"/>
          <a:lstStyle>
            <a:lvl1pPr algn="l">
              <a:defRPr sz="750">
                <a:solidFill>
                  <a:schemeClr val="bg1"/>
                </a:solidFill>
                <a:latin typeface="+mn-lt"/>
                <a:ea typeface="Arial" panose="020B0604020202020204" pitchFamily="34" charset="0"/>
                <a:cs typeface="Arial" panose="020B0604020202020204" pitchFamily="34" charset="0"/>
              </a:defRPr>
            </a:lvl1pPr>
          </a:lstStyle>
          <a:p>
            <a:fld id="{9CFD19E1-96B2-4891-B67A-79CC8C9D3211}" type="datetime2">
              <a:rPr lang="da-DK" smtClean="0"/>
              <a:t>17. september 2025</a:t>
            </a:fld>
            <a:endParaRPr lang="da-DK" dirty="0"/>
          </a:p>
        </p:txBody>
      </p:sp>
      <p:sp>
        <p:nvSpPr>
          <p:cNvPr id="12" name="Pladsholder til tekst 16"/>
          <p:cNvSpPr>
            <a:spLocks noGrp="1"/>
          </p:cNvSpPr>
          <p:nvPr>
            <p:ph type="body" sz="quarter" idx="10" hasCustomPrompt="1"/>
          </p:nvPr>
        </p:nvSpPr>
        <p:spPr>
          <a:xfrm>
            <a:off x="934138" y="2067694"/>
            <a:ext cx="7087103" cy="1205443"/>
          </a:xfrm>
          <a:prstGeom prst="rect">
            <a:avLst/>
          </a:prstGeom>
          <a:effectLst>
            <a:softEdge rad="0"/>
          </a:effectLst>
        </p:spPr>
        <p:txBody>
          <a:bodyPr lIns="0" anchor="t" anchorCtr="0">
            <a:noAutofit/>
          </a:bodyPr>
          <a:lstStyle>
            <a:lvl1pPr marL="0" indent="0" algn="l">
              <a:spcBef>
                <a:spcPts val="0"/>
              </a:spcBef>
              <a:spcAft>
                <a:spcPts val="0"/>
              </a:spcAft>
              <a:buNone/>
              <a:defRPr sz="3450" b="0" baseline="0">
                <a:solidFill>
                  <a:schemeClr val="bg1"/>
                </a:solidFill>
                <a:latin typeface="+mj-lt"/>
                <a:ea typeface="Arial" panose="020B0604020202020204" pitchFamily="34" charset="0"/>
                <a:cs typeface="Arial" panose="020B0604020202020204" pitchFamily="34" charset="0"/>
              </a:defRPr>
            </a:lvl1pPr>
          </a:lstStyle>
          <a:p>
            <a:pPr lvl="0"/>
            <a:r>
              <a:rPr lang="da-DK" noProof="0" dirty="0"/>
              <a:t>Her kan du skrive </a:t>
            </a:r>
            <a:br>
              <a:rPr lang="da-DK" noProof="0" dirty="0"/>
            </a:br>
            <a:r>
              <a:rPr lang="da-DK" noProof="0" dirty="0"/>
              <a:t>din titel i to linjer</a:t>
            </a:r>
          </a:p>
        </p:txBody>
      </p:sp>
      <p:sp>
        <p:nvSpPr>
          <p:cNvPr id="3" name="Footer Placeholder 8">
            <a:extLst>
              <a:ext uri="{FF2B5EF4-FFF2-40B4-BE49-F238E27FC236}">
                <a16:creationId xmlns:a16="http://schemas.microsoft.com/office/drawing/2014/main" id="{2BD144D5-A693-55AB-14C2-7AF40084458F}"/>
              </a:ext>
            </a:extLst>
          </p:cNvPr>
          <p:cNvSpPr>
            <a:spLocks noGrp="1"/>
          </p:cNvSpPr>
          <p:nvPr>
            <p:ph type="ftr" sz="quarter" idx="17"/>
          </p:nvPr>
        </p:nvSpPr>
        <p:spPr>
          <a:xfrm>
            <a:off x="0" y="5143500"/>
            <a:ext cx="0" cy="0"/>
          </a:xfrm>
          <a:prstGeom prst="rect">
            <a:avLst/>
          </a:prstGeom>
        </p:spPr>
        <p:txBody>
          <a:bodyPr vert="horz" lIns="0" tIns="0" rIns="0" bIns="0" rtlCol="0" anchor="b" anchorCtr="0"/>
          <a:lstStyle>
            <a:defPPr>
              <a:defRPr lang="da-DK"/>
            </a:defPPr>
            <a:lvl1pPr marL="0" algn="l" defTabSz="685800" rtl="0" eaLnBrk="1" latinLnBrk="0" hangingPunct="1">
              <a:defRPr lang="da-DK"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4" name="Slide Number Placeholder 9">
            <a:extLst>
              <a:ext uri="{FF2B5EF4-FFF2-40B4-BE49-F238E27FC236}">
                <a16:creationId xmlns:a16="http://schemas.microsoft.com/office/drawing/2014/main" id="{49EA13F1-7FE1-7279-E9B5-3D0E6AFDE5B4}"/>
              </a:ext>
            </a:extLst>
          </p:cNvPr>
          <p:cNvSpPr>
            <a:spLocks noGrp="1"/>
          </p:cNvSpPr>
          <p:nvPr>
            <p:ph type="sldNum" sz="quarter" idx="18"/>
          </p:nvPr>
        </p:nvSpPr>
        <p:spPr>
          <a:xfrm>
            <a:off x="0" y="5143500"/>
            <a:ext cx="0" cy="0"/>
          </a:xfrm>
          <a:prstGeom prst="rect">
            <a:avLst/>
          </a:prstGeom>
        </p:spPr>
        <p:txBody>
          <a:bodyPr vert="horz" lIns="0" tIns="0" rIns="0" bIns="0" rtlCol="0" anchor="b" anchorCtr="0"/>
          <a:lstStyle>
            <a:defPPr>
              <a:defRPr lang="da-DK"/>
            </a:defPPr>
            <a:lvl1pPr marL="0" algn="r" defTabSz="685800" rtl="0" eaLnBrk="1" latinLnBrk="0" hangingPunct="1">
              <a:defRPr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5" name="Freeform: Shape 4">
            <a:extLst>
              <a:ext uri="{FF2B5EF4-FFF2-40B4-BE49-F238E27FC236}">
                <a16:creationId xmlns:a16="http://schemas.microsoft.com/office/drawing/2014/main" id="{F0247E72-123C-7113-5F88-B106B6F4FD15}"/>
              </a:ext>
            </a:extLst>
          </p:cNvPr>
          <p:cNvSpPr/>
          <p:nvPr userDrawn="1"/>
        </p:nvSpPr>
        <p:spPr>
          <a:xfrm>
            <a:off x="934641" y="778409"/>
            <a:ext cx="1141177" cy="1141201"/>
          </a:xfrm>
          <a:custGeom>
            <a:avLst/>
            <a:gdLst>
              <a:gd name="connsiteX0" fmla="*/ 908875 w 2920154"/>
              <a:gd name="connsiteY0" fmla="*/ 2064244 h 2920216"/>
              <a:gd name="connsiteX1" fmla="*/ 2053750 w 2920154"/>
              <a:gd name="connsiteY1" fmla="*/ 2064244 h 2920216"/>
              <a:gd name="connsiteX2" fmla="*/ 2053750 w 2920154"/>
              <a:gd name="connsiteY2" fmla="*/ 2078196 h 2920216"/>
              <a:gd name="connsiteX3" fmla="*/ 2053750 w 2920154"/>
              <a:gd name="connsiteY3" fmla="*/ 2122889 h 2920216"/>
              <a:gd name="connsiteX4" fmla="*/ 2053750 w 2920154"/>
              <a:gd name="connsiteY4" fmla="*/ 2136841 h 2920216"/>
              <a:gd name="connsiteX5" fmla="*/ 908875 w 2920154"/>
              <a:gd name="connsiteY5" fmla="*/ 2136841 h 2920216"/>
              <a:gd name="connsiteX6" fmla="*/ 908875 w 2920154"/>
              <a:gd name="connsiteY6" fmla="*/ 2136223 h 2920216"/>
              <a:gd name="connsiteX7" fmla="*/ 887639 w 2920154"/>
              <a:gd name="connsiteY7" fmla="*/ 2136223 h 2920216"/>
              <a:gd name="connsiteX8" fmla="*/ 887639 w 2920154"/>
              <a:gd name="connsiteY8" fmla="*/ 2077578 h 2920216"/>
              <a:gd name="connsiteX9" fmla="*/ 908875 w 2920154"/>
              <a:gd name="connsiteY9" fmla="*/ 2077578 h 2920216"/>
              <a:gd name="connsiteX10" fmla="*/ 908875 w 2920154"/>
              <a:gd name="connsiteY10" fmla="*/ 1965535 h 2920216"/>
              <a:gd name="connsiteX11" fmla="*/ 2053750 w 2920154"/>
              <a:gd name="connsiteY11" fmla="*/ 1965535 h 2920216"/>
              <a:gd name="connsiteX12" fmla="*/ 2053750 w 2920154"/>
              <a:gd name="connsiteY12" fmla="*/ 1979487 h 2920216"/>
              <a:gd name="connsiteX13" fmla="*/ 2053750 w 2920154"/>
              <a:gd name="connsiteY13" fmla="*/ 2024180 h 2920216"/>
              <a:gd name="connsiteX14" fmla="*/ 2053750 w 2920154"/>
              <a:gd name="connsiteY14" fmla="*/ 2038132 h 2920216"/>
              <a:gd name="connsiteX15" fmla="*/ 908875 w 2920154"/>
              <a:gd name="connsiteY15" fmla="*/ 2038132 h 2920216"/>
              <a:gd name="connsiteX16" fmla="*/ 908875 w 2920154"/>
              <a:gd name="connsiteY16" fmla="*/ 2037514 h 2920216"/>
              <a:gd name="connsiteX17" fmla="*/ 887639 w 2920154"/>
              <a:gd name="connsiteY17" fmla="*/ 2037514 h 2920216"/>
              <a:gd name="connsiteX18" fmla="*/ 887639 w 2920154"/>
              <a:gd name="connsiteY18" fmla="*/ 1978869 h 2920216"/>
              <a:gd name="connsiteX19" fmla="*/ 908875 w 2920154"/>
              <a:gd name="connsiteY19" fmla="*/ 1978869 h 2920216"/>
              <a:gd name="connsiteX20" fmla="*/ 908875 w 2920154"/>
              <a:gd name="connsiteY20" fmla="*/ 1866826 h 2920216"/>
              <a:gd name="connsiteX21" fmla="*/ 2053750 w 2920154"/>
              <a:gd name="connsiteY21" fmla="*/ 1866826 h 2920216"/>
              <a:gd name="connsiteX22" fmla="*/ 2053750 w 2920154"/>
              <a:gd name="connsiteY22" fmla="*/ 1880778 h 2920216"/>
              <a:gd name="connsiteX23" fmla="*/ 2053750 w 2920154"/>
              <a:gd name="connsiteY23" fmla="*/ 1925471 h 2920216"/>
              <a:gd name="connsiteX24" fmla="*/ 2053750 w 2920154"/>
              <a:gd name="connsiteY24" fmla="*/ 1939423 h 2920216"/>
              <a:gd name="connsiteX25" fmla="*/ 908875 w 2920154"/>
              <a:gd name="connsiteY25" fmla="*/ 1939423 h 2920216"/>
              <a:gd name="connsiteX26" fmla="*/ 908875 w 2920154"/>
              <a:gd name="connsiteY26" fmla="*/ 1938805 h 2920216"/>
              <a:gd name="connsiteX27" fmla="*/ 887639 w 2920154"/>
              <a:gd name="connsiteY27" fmla="*/ 1938805 h 2920216"/>
              <a:gd name="connsiteX28" fmla="*/ 887639 w 2920154"/>
              <a:gd name="connsiteY28" fmla="*/ 1880160 h 2920216"/>
              <a:gd name="connsiteX29" fmla="*/ 908875 w 2920154"/>
              <a:gd name="connsiteY29" fmla="*/ 1880160 h 2920216"/>
              <a:gd name="connsiteX30" fmla="*/ 1474198 w 2920154"/>
              <a:gd name="connsiteY30" fmla="*/ 954491 h 2920216"/>
              <a:gd name="connsiteX31" fmla="*/ 1440416 w 2920154"/>
              <a:gd name="connsiteY31" fmla="*/ 964842 h 2920216"/>
              <a:gd name="connsiteX32" fmla="*/ 1413811 w 2920154"/>
              <a:gd name="connsiteY32" fmla="*/ 997197 h 2920216"/>
              <a:gd name="connsiteX33" fmla="*/ 1409446 w 2920154"/>
              <a:gd name="connsiteY33" fmla="*/ 1018819 h 2920216"/>
              <a:gd name="connsiteX34" fmla="*/ 1413811 w 2920154"/>
              <a:gd name="connsiteY34" fmla="*/ 1040441 h 2920216"/>
              <a:gd name="connsiteX35" fmla="*/ 1481436 w 2920154"/>
              <a:gd name="connsiteY35" fmla="*/ 1085365 h 2920216"/>
              <a:gd name="connsiteX36" fmla="*/ 1513081 w 2920154"/>
              <a:gd name="connsiteY36" fmla="*/ 1075668 h 2920216"/>
              <a:gd name="connsiteX37" fmla="*/ 1527824 w 2920154"/>
              <a:gd name="connsiteY37" fmla="*/ 1053775 h 2920216"/>
              <a:gd name="connsiteX38" fmla="*/ 1533598 w 2920154"/>
              <a:gd name="connsiteY38" fmla="*/ 1025177 h 2920216"/>
              <a:gd name="connsiteX39" fmla="*/ 1488753 w 2920154"/>
              <a:gd name="connsiteY39" fmla="*/ 957439 h 2920216"/>
              <a:gd name="connsiteX40" fmla="*/ 1481312 w 2920154"/>
              <a:gd name="connsiteY40" fmla="*/ 780843 h 2920216"/>
              <a:gd name="connsiteX41" fmla="*/ 1510573 w 2920154"/>
              <a:gd name="connsiteY41" fmla="*/ 810166 h 2920216"/>
              <a:gd name="connsiteX42" fmla="*/ 1510573 w 2920154"/>
              <a:gd name="connsiteY42" fmla="*/ 824118 h 2920216"/>
              <a:gd name="connsiteX43" fmla="*/ 1510573 w 2920154"/>
              <a:gd name="connsiteY43" fmla="*/ 887083 h 2920216"/>
              <a:gd name="connsiteX44" fmla="*/ 1608541 w 2920154"/>
              <a:gd name="connsiteY44" fmla="*/ 1020115 h 2920216"/>
              <a:gd name="connsiteX45" fmla="*/ 1790649 w 2920154"/>
              <a:gd name="connsiteY45" fmla="*/ 977829 h 2920216"/>
              <a:gd name="connsiteX46" fmla="*/ 2071528 w 2920154"/>
              <a:gd name="connsiteY46" fmla="*/ 1178395 h 2920216"/>
              <a:gd name="connsiteX47" fmla="*/ 2071590 w 2920154"/>
              <a:gd name="connsiteY47" fmla="*/ 1178395 h 2920216"/>
              <a:gd name="connsiteX48" fmla="*/ 2275490 w 2920154"/>
              <a:gd name="connsiteY48" fmla="*/ 1420012 h 2920216"/>
              <a:gd name="connsiteX49" fmla="*/ 2274628 w 2920154"/>
              <a:gd name="connsiteY49" fmla="*/ 1424789 h 2920216"/>
              <a:gd name="connsiteX50" fmla="*/ 2275490 w 2920154"/>
              <a:gd name="connsiteY50" fmla="*/ 1433965 h 2920216"/>
              <a:gd name="connsiteX51" fmla="*/ 2050108 w 2920154"/>
              <a:gd name="connsiteY51" fmla="*/ 1814355 h 2920216"/>
              <a:gd name="connsiteX52" fmla="*/ 2048749 w 2920154"/>
              <a:gd name="connsiteY52" fmla="*/ 1815960 h 2920216"/>
              <a:gd name="connsiteX53" fmla="*/ 1971029 w 2920154"/>
              <a:gd name="connsiteY53" fmla="*/ 1815960 h 2920216"/>
              <a:gd name="connsiteX54" fmla="*/ 1971583 w 2920154"/>
              <a:gd name="connsiteY54" fmla="*/ 1815342 h 2920216"/>
              <a:gd name="connsiteX55" fmla="*/ 1949855 w 2920154"/>
              <a:gd name="connsiteY55" fmla="*/ 1815342 h 2920216"/>
              <a:gd name="connsiteX56" fmla="*/ 1956769 w 2920154"/>
              <a:gd name="connsiteY56" fmla="*/ 1807626 h 2920216"/>
              <a:gd name="connsiteX57" fmla="*/ 2113382 w 2920154"/>
              <a:gd name="connsiteY57" fmla="*/ 1608541 h 2920216"/>
              <a:gd name="connsiteX58" fmla="*/ 2195917 w 2920154"/>
              <a:gd name="connsiteY58" fmla="*/ 1430384 h 2920216"/>
              <a:gd name="connsiteX59" fmla="*/ 2158323 w 2920154"/>
              <a:gd name="connsiteY59" fmla="*/ 1296179 h 2920216"/>
              <a:gd name="connsiteX60" fmla="*/ 2115859 w 2920154"/>
              <a:gd name="connsiteY60" fmla="*/ 1267289 h 2920216"/>
              <a:gd name="connsiteX61" fmla="*/ 2076786 w 2920154"/>
              <a:gd name="connsiteY61" fmla="*/ 1256831 h 2920216"/>
              <a:gd name="connsiteX62" fmla="*/ 2076220 w 2920154"/>
              <a:gd name="connsiteY62" fmla="*/ 1288648 h 2920216"/>
              <a:gd name="connsiteX63" fmla="*/ 1997142 w 2920154"/>
              <a:gd name="connsiteY63" fmla="*/ 1502857 h 2920216"/>
              <a:gd name="connsiteX64" fmla="*/ 1788674 w 2920154"/>
              <a:gd name="connsiteY64" fmla="*/ 1814170 h 2920216"/>
              <a:gd name="connsiteX65" fmla="*/ 1787254 w 2920154"/>
              <a:gd name="connsiteY65" fmla="*/ 1815960 h 2920216"/>
              <a:gd name="connsiteX66" fmla="*/ 1713114 w 2920154"/>
              <a:gd name="connsiteY66" fmla="*/ 1815960 h 2920216"/>
              <a:gd name="connsiteX67" fmla="*/ 1713616 w 2920154"/>
              <a:gd name="connsiteY67" fmla="*/ 1815342 h 2920216"/>
              <a:gd name="connsiteX68" fmla="*/ 1691940 w 2920154"/>
              <a:gd name="connsiteY68" fmla="*/ 1815342 h 2920216"/>
              <a:gd name="connsiteX69" fmla="*/ 1698052 w 2920154"/>
              <a:gd name="connsiteY69" fmla="*/ 1807811 h 2920216"/>
              <a:gd name="connsiteX70" fmla="*/ 1996462 w 2920154"/>
              <a:gd name="connsiteY70" fmla="*/ 1283956 h 2920216"/>
              <a:gd name="connsiteX71" fmla="*/ 1955534 w 2920154"/>
              <a:gd name="connsiteY71" fmla="*/ 1118454 h 2920216"/>
              <a:gd name="connsiteX72" fmla="*/ 1828991 w 2920154"/>
              <a:gd name="connsiteY72" fmla="*/ 1054127 h 2920216"/>
              <a:gd name="connsiteX73" fmla="*/ 1784872 w 2920154"/>
              <a:gd name="connsiteY73" fmla="*/ 1050922 h 2920216"/>
              <a:gd name="connsiteX74" fmla="*/ 1733424 w 2920154"/>
              <a:gd name="connsiteY74" fmla="*/ 1055248 h 2920216"/>
              <a:gd name="connsiteX75" fmla="*/ 1510696 w 2920154"/>
              <a:gd name="connsiteY75" fmla="*/ 1175247 h 2920216"/>
              <a:gd name="connsiteX76" fmla="*/ 1510696 w 2920154"/>
              <a:gd name="connsiteY76" fmla="*/ 1802070 h 2920216"/>
              <a:gd name="connsiteX77" fmla="*/ 1510696 w 2920154"/>
              <a:gd name="connsiteY77" fmla="*/ 1816022 h 2920216"/>
              <a:gd name="connsiteX78" fmla="*/ 1452113 w 2920154"/>
              <a:gd name="connsiteY78" fmla="*/ 1816022 h 2920216"/>
              <a:gd name="connsiteX79" fmla="*/ 1452113 w 2920154"/>
              <a:gd name="connsiteY79" fmla="*/ 1815404 h 2920216"/>
              <a:gd name="connsiteX80" fmla="*/ 1430877 w 2920154"/>
              <a:gd name="connsiteY80" fmla="*/ 1815404 h 2920216"/>
              <a:gd name="connsiteX81" fmla="*/ 1430877 w 2920154"/>
              <a:gd name="connsiteY81" fmla="*/ 1174629 h 2920216"/>
              <a:gd name="connsiteX82" fmla="*/ 1208150 w 2920154"/>
              <a:gd name="connsiteY82" fmla="*/ 1054630 h 2920216"/>
              <a:gd name="connsiteX83" fmla="*/ 1164594 w 2920154"/>
              <a:gd name="connsiteY83" fmla="*/ 1050968 h 2920216"/>
              <a:gd name="connsiteX84" fmla="*/ 1112547 w 2920154"/>
              <a:gd name="connsiteY84" fmla="*/ 1054755 h 2920216"/>
              <a:gd name="connsiteX85" fmla="*/ 985977 w 2920154"/>
              <a:gd name="connsiteY85" fmla="*/ 1119133 h 2920216"/>
              <a:gd name="connsiteX86" fmla="*/ 943984 w 2920154"/>
              <a:gd name="connsiteY86" fmla="*/ 1225350 h 2920216"/>
              <a:gd name="connsiteX87" fmla="*/ 943405 w 2920154"/>
              <a:gd name="connsiteY87" fmla="*/ 1254778 h 2920216"/>
              <a:gd name="connsiteX88" fmla="*/ 944286 w 2920154"/>
              <a:gd name="connsiteY88" fmla="*/ 1264777 h 2920216"/>
              <a:gd name="connsiteX89" fmla="*/ 945049 w 2920154"/>
              <a:gd name="connsiteY89" fmla="*/ 1270252 h 2920216"/>
              <a:gd name="connsiteX90" fmla="*/ 1243522 w 2920154"/>
              <a:gd name="connsiteY90" fmla="*/ 1794477 h 2920216"/>
              <a:gd name="connsiteX91" fmla="*/ 1249633 w 2920154"/>
              <a:gd name="connsiteY91" fmla="*/ 1802008 h 2920216"/>
              <a:gd name="connsiteX92" fmla="*/ 1238401 w 2920154"/>
              <a:gd name="connsiteY92" fmla="*/ 1802008 h 2920216"/>
              <a:gd name="connsiteX93" fmla="*/ 1239906 w 2920154"/>
              <a:gd name="connsiteY93" fmla="*/ 1803914 h 2920216"/>
              <a:gd name="connsiteX94" fmla="*/ 1243522 w 2920154"/>
              <a:gd name="connsiteY94" fmla="*/ 1808429 h 2920216"/>
              <a:gd name="connsiteX95" fmla="*/ 1249633 w 2920154"/>
              <a:gd name="connsiteY95" fmla="*/ 1815960 h 2920216"/>
              <a:gd name="connsiteX96" fmla="*/ 1175493 w 2920154"/>
              <a:gd name="connsiteY96" fmla="*/ 1815960 h 2920216"/>
              <a:gd name="connsiteX97" fmla="*/ 1175003 w 2920154"/>
              <a:gd name="connsiteY97" fmla="*/ 1815342 h 2920216"/>
              <a:gd name="connsiteX98" fmla="*/ 1154257 w 2920154"/>
              <a:gd name="connsiteY98" fmla="*/ 1815342 h 2920216"/>
              <a:gd name="connsiteX99" fmla="*/ 1152838 w 2920154"/>
              <a:gd name="connsiteY99" fmla="*/ 1813552 h 2920216"/>
              <a:gd name="connsiteX100" fmla="*/ 944308 w 2920154"/>
              <a:gd name="connsiteY100" fmla="*/ 1502239 h 2920216"/>
              <a:gd name="connsiteX101" fmla="*/ 865292 w 2920154"/>
              <a:gd name="connsiteY101" fmla="*/ 1288031 h 2920216"/>
              <a:gd name="connsiteX102" fmla="*/ 864746 w 2920154"/>
              <a:gd name="connsiteY102" fmla="*/ 1257454 h 2920216"/>
              <a:gd name="connsiteX103" fmla="*/ 825660 w 2920154"/>
              <a:gd name="connsiteY103" fmla="*/ 1267907 h 2920216"/>
              <a:gd name="connsiteX104" fmla="*/ 783189 w 2920154"/>
              <a:gd name="connsiteY104" fmla="*/ 1296797 h 2920216"/>
              <a:gd name="connsiteX105" fmla="*/ 752848 w 2920154"/>
              <a:gd name="connsiteY105" fmla="*/ 1352556 h 2920216"/>
              <a:gd name="connsiteX106" fmla="*/ 746521 w 2920154"/>
              <a:gd name="connsiteY106" fmla="*/ 1421575 h 2920216"/>
              <a:gd name="connsiteX107" fmla="*/ 752032 w 2920154"/>
              <a:gd name="connsiteY107" fmla="*/ 1450442 h 2920216"/>
              <a:gd name="connsiteX108" fmla="*/ 828129 w 2920154"/>
              <a:gd name="connsiteY108" fmla="*/ 1595207 h 2920216"/>
              <a:gd name="connsiteX109" fmla="*/ 984743 w 2920154"/>
              <a:gd name="connsiteY109" fmla="*/ 1794291 h 2920216"/>
              <a:gd name="connsiteX110" fmla="*/ 991657 w 2920154"/>
              <a:gd name="connsiteY110" fmla="*/ 1802008 h 2920216"/>
              <a:gd name="connsiteX111" fmla="*/ 979507 w 2920154"/>
              <a:gd name="connsiteY111" fmla="*/ 1802008 h 2920216"/>
              <a:gd name="connsiteX112" fmla="*/ 984743 w 2920154"/>
              <a:gd name="connsiteY112" fmla="*/ 1808244 h 2920216"/>
              <a:gd name="connsiteX113" fmla="*/ 991657 w 2920154"/>
              <a:gd name="connsiteY113" fmla="*/ 1815960 h 2920216"/>
              <a:gd name="connsiteX114" fmla="*/ 913937 w 2920154"/>
              <a:gd name="connsiteY114" fmla="*/ 1815960 h 2920216"/>
              <a:gd name="connsiteX115" fmla="*/ 913414 w 2920154"/>
              <a:gd name="connsiteY115" fmla="*/ 1815342 h 2920216"/>
              <a:gd name="connsiteX116" fmla="*/ 892701 w 2920154"/>
              <a:gd name="connsiteY116" fmla="*/ 1815342 h 2920216"/>
              <a:gd name="connsiteX117" fmla="*/ 891342 w 2920154"/>
              <a:gd name="connsiteY117" fmla="*/ 1813737 h 2920216"/>
              <a:gd name="connsiteX118" fmla="*/ 665960 w 2920154"/>
              <a:gd name="connsiteY118" fmla="*/ 1433347 h 2920216"/>
              <a:gd name="connsiteX119" fmla="*/ 777659 w 2920154"/>
              <a:gd name="connsiteY119" fmla="*/ 1215575 h 2920216"/>
              <a:gd name="connsiteX120" fmla="*/ 782871 w 2920154"/>
              <a:gd name="connsiteY120" fmla="*/ 1214227 h 2920216"/>
              <a:gd name="connsiteX121" fmla="*/ 798895 w 2920154"/>
              <a:gd name="connsiteY121" fmla="*/ 1202240 h 2920216"/>
              <a:gd name="connsiteX122" fmla="*/ 871960 w 2920154"/>
              <a:gd name="connsiteY122" fmla="*/ 1183344 h 2920216"/>
              <a:gd name="connsiteX123" fmla="*/ 881182 w 2920154"/>
              <a:gd name="connsiteY123" fmla="*/ 1146514 h 2920216"/>
              <a:gd name="connsiteX124" fmla="*/ 958330 w 2920154"/>
              <a:gd name="connsiteY124" fmla="*/ 1043673 h 2920216"/>
              <a:gd name="connsiteX125" fmla="*/ 973769 w 2920154"/>
              <a:gd name="connsiteY125" fmla="*/ 1036532 h 2920216"/>
              <a:gd name="connsiteX126" fmla="*/ 979565 w 2920154"/>
              <a:gd name="connsiteY126" fmla="*/ 1030285 h 2920216"/>
              <a:gd name="connsiteX127" fmla="*/ 1171975 w 2920154"/>
              <a:gd name="connsiteY127" fmla="*/ 977829 h 2920216"/>
              <a:gd name="connsiteX128" fmla="*/ 1263909 w 2920154"/>
              <a:gd name="connsiteY128" fmla="*/ 988439 h 2920216"/>
              <a:gd name="connsiteX129" fmla="*/ 1334979 w 2920154"/>
              <a:gd name="connsiteY129" fmla="*/ 1013404 h 2920216"/>
              <a:gd name="connsiteX130" fmla="*/ 1337911 w 2920154"/>
              <a:gd name="connsiteY130" fmla="*/ 985744 h 2920216"/>
              <a:gd name="connsiteX131" fmla="*/ 1391583 w 2920154"/>
              <a:gd name="connsiteY131" fmla="*/ 917133 h 2920216"/>
              <a:gd name="connsiteX132" fmla="*/ 1403456 w 2920154"/>
              <a:gd name="connsiteY132" fmla="*/ 912093 h 2920216"/>
              <a:gd name="connsiteX133" fmla="*/ 1412819 w 2920154"/>
              <a:gd name="connsiteY133" fmla="*/ 903711 h 2920216"/>
              <a:gd name="connsiteX134" fmla="*/ 1430815 w 2920154"/>
              <a:gd name="connsiteY134" fmla="*/ 896084 h 2920216"/>
              <a:gd name="connsiteX135" fmla="*/ 1430815 w 2920154"/>
              <a:gd name="connsiteY135" fmla="*/ 823562 h 2920216"/>
              <a:gd name="connsiteX136" fmla="*/ 1439404 w 2920154"/>
              <a:gd name="connsiteY136" fmla="*/ 802835 h 2920216"/>
              <a:gd name="connsiteX137" fmla="*/ 1458354 w 2920154"/>
              <a:gd name="connsiteY137" fmla="*/ 794955 h 2920216"/>
              <a:gd name="connsiteX138" fmla="*/ 1460640 w 2920154"/>
              <a:gd name="connsiteY138" fmla="*/ 789439 h 2920216"/>
              <a:gd name="connsiteX139" fmla="*/ 1481312 w 2920154"/>
              <a:gd name="connsiteY139" fmla="*/ 780843 h 2920216"/>
              <a:gd name="connsiteX140" fmla="*/ 1555329 w 2920154"/>
              <a:gd name="connsiteY140" fmla="*/ 706642 h 2920216"/>
              <a:gd name="connsiteX141" fmla="*/ 1654161 w 2920154"/>
              <a:gd name="connsiteY141" fmla="*/ 706642 h 2920216"/>
              <a:gd name="connsiteX142" fmla="*/ 1683483 w 2920154"/>
              <a:gd name="connsiteY142" fmla="*/ 735965 h 2920216"/>
              <a:gd name="connsiteX143" fmla="*/ 1680590 w 2920154"/>
              <a:gd name="connsiteY143" fmla="*/ 742940 h 2920216"/>
              <a:gd name="connsiteX144" fmla="*/ 1683483 w 2920154"/>
              <a:gd name="connsiteY144" fmla="*/ 749915 h 2920216"/>
              <a:gd name="connsiteX145" fmla="*/ 1654161 w 2920154"/>
              <a:gd name="connsiteY145" fmla="*/ 779238 h 2920216"/>
              <a:gd name="connsiteX146" fmla="*/ 1555329 w 2920154"/>
              <a:gd name="connsiteY146" fmla="*/ 779238 h 2920216"/>
              <a:gd name="connsiteX147" fmla="*/ 1553841 w 2920154"/>
              <a:gd name="connsiteY147" fmla="*/ 778621 h 2920216"/>
              <a:gd name="connsiteX148" fmla="*/ 1534093 w 2920154"/>
              <a:gd name="connsiteY148" fmla="*/ 778621 h 2920216"/>
              <a:gd name="connsiteX149" fmla="*/ 1504770 w 2920154"/>
              <a:gd name="connsiteY149" fmla="*/ 749299 h 2920216"/>
              <a:gd name="connsiteX150" fmla="*/ 1513366 w 2920154"/>
              <a:gd name="connsiteY150" fmla="*/ 728572 h 2920216"/>
              <a:gd name="connsiteX151" fmla="*/ 1532335 w 2920154"/>
              <a:gd name="connsiteY151" fmla="*/ 720705 h 2920216"/>
              <a:gd name="connsiteX152" fmla="*/ 1534602 w 2920154"/>
              <a:gd name="connsiteY152" fmla="*/ 715238 h 2920216"/>
              <a:gd name="connsiteX153" fmla="*/ 1555329 w 2920154"/>
              <a:gd name="connsiteY153" fmla="*/ 706642 h 2920216"/>
              <a:gd name="connsiteX154" fmla="*/ 1308526 w 2920154"/>
              <a:gd name="connsiteY154" fmla="*/ 706642 h 2920216"/>
              <a:gd name="connsiteX155" fmla="*/ 1407358 w 2920154"/>
              <a:gd name="connsiteY155" fmla="*/ 706642 h 2920216"/>
              <a:gd name="connsiteX156" fmla="*/ 1436680 w 2920154"/>
              <a:gd name="connsiteY156" fmla="*/ 735965 h 2920216"/>
              <a:gd name="connsiteX157" fmla="*/ 1433787 w 2920154"/>
              <a:gd name="connsiteY157" fmla="*/ 742940 h 2920216"/>
              <a:gd name="connsiteX158" fmla="*/ 1436680 w 2920154"/>
              <a:gd name="connsiteY158" fmla="*/ 749915 h 2920216"/>
              <a:gd name="connsiteX159" fmla="*/ 1407358 w 2920154"/>
              <a:gd name="connsiteY159" fmla="*/ 779238 h 2920216"/>
              <a:gd name="connsiteX160" fmla="*/ 1308526 w 2920154"/>
              <a:gd name="connsiteY160" fmla="*/ 779238 h 2920216"/>
              <a:gd name="connsiteX161" fmla="*/ 1307039 w 2920154"/>
              <a:gd name="connsiteY161" fmla="*/ 778621 h 2920216"/>
              <a:gd name="connsiteX162" fmla="*/ 1287290 w 2920154"/>
              <a:gd name="connsiteY162" fmla="*/ 778621 h 2920216"/>
              <a:gd name="connsiteX163" fmla="*/ 1257967 w 2920154"/>
              <a:gd name="connsiteY163" fmla="*/ 749299 h 2920216"/>
              <a:gd name="connsiteX164" fmla="*/ 1266563 w 2920154"/>
              <a:gd name="connsiteY164" fmla="*/ 728572 h 2920216"/>
              <a:gd name="connsiteX165" fmla="*/ 1285532 w 2920154"/>
              <a:gd name="connsiteY165" fmla="*/ 720705 h 2920216"/>
              <a:gd name="connsiteX166" fmla="*/ 1287799 w 2920154"/>
              <a:gd name="connsiteY166" fmla="*/ 715238 h 2920216"/>
              <a:gd name="connsiteX167" fmla="*/ 1308526 w 2920154"/>
              <a:gd name="connsiteY167" fmla="*/ 706642 h 2920216"/>
              <a:gd name="connsiteX168" fmla="*/ 1481313 w 2920154"/>
              <a:gd name="connsiteY168" fmla="*/ 533608 h 2920216"/>
              <a:gd name="connsiteX169" fmla="*/ 1510635 w 2920154"/>
              <a:gd name="connsiteY169" fmla="*/ 562931 h 2920216"/>
              <a:gd name="connsiteX170" fmla="*/ 1510635 w 2920154"/>
              <a:gd name="connsiteY170" fmla="*/ 576882 h 2920216"/>
              <a:gd name="connsiteX171" fmla="*/ 1510635 w 2920154"/>
              <a:gd name="connsiteY171" fmla="*/ 661639 h 2920216"/>
              <a:gd name="connsiteX172" fmla="*/ 1510635 w 2920154"/>
              <a:gd name="connsiteY172" fmla="*/ 675590 h 2920216"/>
              <a:gd name="connsiteX173" fmla="*/ 1481313 w 2920154"/>
              <a:gd name="connsiteY173" fmla="*/ 704913 h 2920216"/>
              <a:gd name="connsiteX174" fmla="*/ 1469951 w 2920154"/>
              <a:gd name="connsiteY174" fmla="*/ 700201 h 2920216"/>
              <a:gd name="connsiteX175" fmla="*/ 1460077 w 2920154"/>
              <a:gd name="connsiteY175" fmla="*/ 704296 h 2920216"/>
              <a:gd name="connsiteX176" fmla="*/ 1430754 w 2920154"/>
              <a:gd name="connsiteY176" fmla="*/ 674973 h 2920216"/>
              <a:gd name="connsiteX177" fmla="*/ 1430754 w 2920154"/>
              <a:gd name="connsiteY177" fmla="*/ 576265 h 2920216"/>
              <a:gd name="connsiteX178" fmla="*/ 1439350 w 2920154"/>
              <a:gd name="connsiteY178" fmla="*/ 555538 h 2920216"/>
              <a:gd name="connsiteX179" fmla="*/ 1458319 w 2920154"/>
              <a:gd name="connsiteY179" fmla="*/ 547671 h 2920216"/>
              <a:gd name="connsiteX180" fmla="*/ 1460586 w 2920154"/>
              <a:gd name="connsiteY180" fmla="*/ 542204 h 2920216"/>
              <a:gd name="connsiteX181" fmla="*/ 1481313 w 2920154"/>
              <a:gd name="connsiteY181" fmla="*/ 533608 h 2920216"/>
              <a:gd name="connsiteX182" fmla="*/ 1460077 w 2920154"/>
              <a:gd name="connsiteY182" fmla="*/ 74078 h 2920216"/>
              <a:gd name="connsiteX183" fmla="*/ 480025 w 2920154"/>
              <a:gd name="connsiteY183" fmla="*/ 480025 h 2920216"/>
              <a:gd name="connsiteX184" fmla="*/ 74078 w 2920154"/>
              <a:gd name="connsiteY184" fmla="*/ 1460139 h 2920216"/>
              <a:gd name="connsiteX185" fmla="*/ 480025 w 2920154"/>
              <a:gd name="connsiteY185" fmla="*/ 2440190 h 2920216"/>
              <a:gd name="connsiteX186" fmla="*/ 1460077 w 2920154"/>
              <a:gd name="connsiteY186" fmla="*/ 2846138 h 2920216"/>
              <a:gd name="connsiteX187" fmla="*/ 2440129 w 2920154"/>
              <a:gd name="connsiteY187" fmla="*/ 2440190 h 2920216"/>
              <a:gd name="connsiteX188" fmla="*/ 2846076 w 2920154"/>
              <a:gd name="connsiteY188" fmla="*/ 1460139 h 2920216"/>
              <a:gd name="connsiteX189" fmla="*/ 2440129 w 2920154"/>
              <a:gd name="connsiteY189" fmla="*/ 480087 h 2920216"/>
              <a:gd name="connsiteX190" fmla="*/ 1460077 w 2920154"/>
              <a:gd name="connsiteY190" fmla="*/ 74078 h 2920216"/>
              <a:gd name="connsiteX191" fmla="*/ 1460077 w 2920154"/>
              <a:gd name="connsiteY191" fmla="*/ 0 h 2920216"/>
              <a:gd name="connsiteX192" fmla="*/ 2492477 w 2920154"/>
              <a:gd name="connsiteY192" fmla="*/ 427677 h 2920216"/>
              <a:gd name="connsiteX193" fmla="*/ 2920154 w 2920154"/>
              <a:gd name="connsiteY193" fmla="*/ 1460139 h 2920216"/>
              <a:gd name="connsiteX194" fmla="*/ 2492477 w 2920154"/>
              <a:gd name="connsiteY194" fmla="*/ 2492601 h 2920216"/>
              <a:gd name="connsiteX195" fmla="*/ 1460077 w 2920154"/>
              <a:gd name="connsiteY195" fmla="*/ 2920216 h 2920216"/>
              <a:gd name="connsiteX196" fmla="*/ 1460077 w 2920154"/>
              <a:gd name="connsiteY196" fmla="*/ 2920154 h 2920216"/>
              <a:gd name="connsiteX197" fmla="*/ 427615 w 2920154"/>
              <a:gd name="connsiteY197" fmla="*/ 2492539 h 2920216"/>
              <a:gd name="connsiteX198" fmla="*/ 0 w 2920154"/>
              <a:gd name="connsiteY198" fmla="*/ 1460139 h 2920216"/>
              <a:gd name="connsiteX199" fmla="*/ 427677 w 2920154"/>
              <a:gd name="connsiteY199" fmla="*/ 427677 h 2920216"/>
              <a:gd name="connsiteX200" fmla="*/ 1460077 w 2920154"/>
              <a:gd name="connsiteY200" fmla="*/ 0 h 292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920154" h="2920216">
                <a:moveTo>
                  <a:pt x="908875" y="2064244"/>
                </a:moveTo>
                <a:lnTo>
                  <a:pt x="2053750" y="2064244"/>
                </a:lnTo>
                <a:lnTo>
                  <a:pt x="2053750" y="2078196"/>
                </a:lnTo>
                <a:lnTo>
                  <a:pt x="2053750" y="2122889"/>
                </a:lnTo>
                <a:lnTo>
                  <a:pt x="2053750" y="2136841"/>
                </a:lnTo>
                <a:lnTo>
                  <a:pt x="908875" y="2136841"/>
                </a:lnTo>
                <a:lnTo>
                  <a:pt x="908875" y="2136223"/>
                </a:lnTo>
                <a:lnTo>
                  <a:pt x="887639" y="2136223"/>
                </a:lnTo>
                <a:lnTo>
                  <a:pt x="887639" y="2077578"/>
                </a:lnTo>
                <a:lnTo>
                  <a:pt x="908875" y="2077578"/>
                </a:lnTo>
                <a:close/>
                <a:moveTo>
                  <a:pt x="908875" y="1965535"/>
                </a:moveTo>
                <a:lnTo>
                  <a:pt x="2053750" y="1965535"/>
                </a:lnTo>
                <a:lnTo>
                  <a:pt x="2053750" y="1979487"/>
                </a:lnTo>
                <a:lnTo>
                  <a:pt x="2053750" y="2024180"/>
                </a:lnTo>
                <a:lnTo>
                  <a:pt x="2053750" y="2038132"/>
                </a:lnTo>
                <a:lnTo>
                  <a:pt x="908875" y="2038132"/>
                </a:lnTo>
                <a:lnTo>
                  <a:pt x="908875" y="2037514"/>
                </a:lnTo>
                <a:lnTo>
                  <a:pt x="887639" y="2037514"/>
                </a:lnTo>
                <a:lnTo>
                  <a:pt x="887639" y="1978869"/>
                </a:lnTo>
                <a:lnTo>
                  <a:pt x="908875" y="1978869"/>
                </a:lnTo>
                <a:close/>
                <a:moveTo>
                  <a:pt x="908875" y="1866826"/>
                </a:moveTo>
                <a:lnTo>
                  <a:pt x="2053750" y="1866826"/>
                </a:lnTo>
                <a:lnTo>
                  <a:pt x="2053750" y="1880778"/>
                </a:lnTo>
                <a:lnTo>
                  <a:pt x="2053750" y="1925471"/>
                </a:lnTo>
                <a:lnTo>
                  <a:pt x="2053750" y="1939423"/>
                </a:lnTo>
                <a:lnTo>
                  <a:pt x="908875" y="1939423"/>
                </a:lnTo>
                <a:lnTo>
                  <a:pt x="908875" y="1938805"/>
                </a:lnTo>
                <a:lnTo>
                  <a:pt x="887639" y="1938805"/>
                </a:lnTo>
                <a:lnTo>
                  <a:pt x="887639" y="1880160"/>
                </a:lnTo>
                <a:lnTo>
                  <a:pt x="908875" y="1880160"/>
                </a:lnTo>
                <a:close/>
                <a:moveTo>
                  <a:pt x="1474198" y="954491"/>
                </a:moveTo>
                <a:lnTo>
                  <a:pt x="1440416" y="964842"/>
                </a:lnTo>
                <a:cubicBezTo>
                  <a:pt x="1428701" y="972775"/>
                  <a:pt x="1419387" y="984006"/>
                  <a:pt x="1413811" y="997197"/>
                </a:cubicBezTo>
                <a:lnTo>
                  <a:pt x="1409446" y="1018819"/>
                </a:lnTo>
                <a:lnTo>
                  <a:pt x="1413811" y="1040441"/>
                </a:lnTo>
                <a:cubicBezTo>
                  <a:pt x="1424963" y="1066822"/>
                  <a:pt x="1451064" y="1085365"/>
                  <a:pt x="1481436" y="1085365"/>
                </a:cubicBezTo>
                <a:lnTo>
                  <a:pt x="1513081" y="1075668"/>
                </a:lnTo>
                <a:lnTo>
                  <a:pt x="1527824" y="1053775"/>
                </a:lnTo>
                <a:cubicBezTo>
                  <a:pt x="1531542" y="1044981"/>
                  <a:pt x="1533598" y="1035316"/>
                  <a:pt x="1533598" y="1025177"/>
                </a:cubicBezTo>
                <a:cubicBezTo>
                  <a:pt x="1533598" y="994758"/>
                  <a:pt x="1515091" y="968612"/>
                  <a:pt x="1488753" y="957439"/>
                </a:cubicBezTo>
                <a:close/>
                <a:moveTo>
                  <a:pt x="1481312" y="780843"/>
                </a:moveTo>
                <a:cubicBezTo>
                  <a:pt x="1497424" y="780843"/>
                  <a:pt x="1510573" y="793992"/>
                  <a:pt x="1510573" y="810166"/>
                </a:cubicBezTo>
                <a:lnTo>
                  <a:pt x="1510573" y="824118"/>
                </a:lnTo>
                <a:lnTo>
                  <a:pt x="1510573" y="887083"/>
                </a:lnTo>
                <a:cubicBezTo>
                  <a:pt x="1565267" y="900047"/>
                  <a:pt x="1614591" y="951901"/>
                  <a:pt x="1608541" y="1020115"/>
                </a:cubicBezTo>
                <a:cubicBezTo>
                  <a:pt x="1667803" y="992027"/>
                  <a:pt x="1729041" y="977829"/>
                  <a:pt x="1790649" y="977829"/>
                </a:cubicBezTo>
                <a:cubicBezTo>
                  <a:pt x="1949300" y="977829"/>
                  <a:pt x="2051466" y="1050919"/>
                  <a:pt x="2071528" y="1178395"/>
                </a:cubicBezTo>
                <a:lnTo>
                  <a:pt x="2071590" y="1178395"/>
                </a:lnTo>
                <a:cubicBezTo>
                  <a:pt x="2212215" y="1193210"/>
                  <a:pt x="2282712" y="1276672"/>
                  <a:pt x="2275490" y="1420012"/>
                </a:cubicBezTo>
                <a:lnTo>
                  <a:pt x="2274628" y="1424789"/>
                </a:lnTo>
                <a:lnTo>
                  <a:pt x="2275490" y="1433965"/>
                </a:lnTo>
                <a:cubicBezTo>
                  <a:pt x="2269996" y="1543168"/>
                  <a:pt x="2131902" y="1719165"/>
                  <a:pt x="2050108" y="1814355"/>
                </a:cubicBezTo>
                <a:lnTo>
                  <a:pt x="2048749" y="1815960"/>
                </a:lnTo>
                <a:lnTo>
                  <a:pt x="1971029" y="1815960"/>
                </a:lnTo>
                <a:lnTo>
                  <a:pt x="1971583" y="1815342"/>
                </a:lnTo>
                <a:lnTo>
                  <a:pt x="1949855" y="1815342"/>
                </a:lnTo>
                <a:lnTo>
                  <a:pt x="1956769" y="1807626"/>
                </a:lnTo>
                <a:cubicBezTo>
                  <a:pt x="2014920" y="1742807"/>
                  <a:pt x="2072022" y="1670211"/>
                  <a:pt x="2113382" y="1608541"/>
                </a:cubicBezTo>
                <a:cubicBezTo>
                  <a:pt x="2165422" y="1531006"/>
                  <a:pt x="2193942" y="1469398"/>
                  <a:pt x="2195917" y="1430384"/>
                </a:cubicBezTo>
                <a:cubicBezTo>
                  <a:pt x="2198881" y="1370751"/>
                  <a:pt x="2186225" y="1325563"/>
                  <a:pt x="2158323" y="1296179"/>
                </a:cubicBezTo>
                <a:cubicBezTo>
                  <a:pt x="2147211" y="1284450"/>
                  <a:pt x="2133013" y="1274804"/>
                  <a:pt x="2115859" y="1267289"/>
                </a:cubicBezTo>
                <a:lnTo>
                  <a:pt x="2076786" y="1256831"/>
                </a:lnTo>
                <a:lnTo>
                  <a:pt x="2076220" y="1288648"/>
                </a:lnTo>
                <a:cubicBezTo>
                  <a:pt x="2071343" y="1343096"/>
                  <a:pt x="2044737" y="1415136"/>
                  <a:pt x="1997142" y="1502857"/>
                </a:cubicBezTo>
                <a:cubicBezTo>
                  <a:pt x="1973992" y="1545575"/>
                  <a:pt x="1907199" y="1661446"/>
                  <a:pt x="1788674" y="1814170"/>
                </a:cubicBezTo>
                <a:lnTo>
                  <a:pt x="1787254" y="1815960"/>
                </a:lnTo>
                <a:lnTo>
                  <a:pt x="1713114" y="1815960"/>
                </a:lnTo>
                <a:lnTo>
                  <a:pt x="1713616" y="1815342"/>
                </a:lnTo>
                <a:lnTo>
                  <a:pt x="1691940" y="1815342"/>
                </a:lnTo>
                <a:lnTo>
                  <a:pt x="1698052" y="1807811"/>
                </a:lnTo>
                <a:cubicBezTo>
                  <a:pt x="1700891" y="1804354"/>
                  <a:pt x="1978869" y="1460323"/>
                  <a:pt x="1996462" y="1283956"/>
                </a:cubicBezTo>
                <a:cubicBezTo>
                  <a:pt x="1997141" y="1279635"/>
                  <a:pt x="2012266" y="1185494"/>
                  <a:pt x="1955534" y="1118454"/>
                </a:cubicBezTo>
                <a:cubicBezTo>
                  <a:pt x="1926644" y="1084285"/>
                  <a:pt x="1884211" y="1062756"/>
                  <a:pt x="1828991" y="1054127"/>
                </a:cubicBezTo>
                <a:lnTo>
                  <a:pt x="1784872" y="1050922"/>
                </a:lnTo>
                <a:lnTo>
                  <a:pt x="1733424" y="1055248"/>
                </a:lnTo>
                <a:cubicBezTo>
                  <a:pt x="1605628" y="1076791"/>
                  <a:pt x="1521391" y="1163688"/>
                  <a:pt x="1510696" y="1175247"/>
                </a:cubicBezTo>
                <a:lnTo>
                  <a:pt x="1510696" y="1802070"/>
                </a:lnTo>
                <a:lnTo>
                  <a:pt x="1510696" y="1816022"/>
                </a:lnTo>
                <a:lnTo>
                  <a:pt x="1452113" y="1816022"/>
                </a:lnTo>
                <a:lnTo>
                  <a:pt x="1452113" y="1815404"/>
                </a:lnTo>
                <a:lnTo>
                  <a:pt x="1430877" y="1815404"/>
                </a:lnTo>
                <a:lnTo>
                  <a:pt x="1430877" y="1174629"/>
                </a:lnTo>
                <a:cubicBezTo>
                  <a:pt x="1420182" y="1163070"/>
                  <a:pt x="1335946" y="1076173"/>
                  <a:pt x="1208150" y="1054630"/>
                </a:cubicBezTo>
                <a:lnTo>
                  <a:pt x="1164594" y="1050968"/>
                </a:lnTo>
                <a:lnTo>
                  <a:pt x="1112547" y="1054755"/>
                </a:lnTo>
                <a:cubicBezTo>
                  <a:pt x="1057301" y="1063401"/>
                  <a:pt x="1014868" y="1084964"/>
                  <a:pt x="985977" y="1119133"/>
                </a:cubicBezTo>
                <a:cubicBezTo>
                  <a:pt x="957612" y="1152684"/>
                  <a:pt x="947210" y="1192964"/>
                  <a:pt x="943984" y="1225350"/>
                </a:cubicBezTo>
                <a:lnTo>
                  <a:pt x="943405" y="1254778"/>
                </a:lnTo>
                <a:lnTo>
                  <a:pt x="944286" y="1264777"/>
                </a:lnTo>
                <a:cubicBezTo>
                  <a:pt x="944654" y="1267857"/>
                  <a:pt x="944964" y="1269758"/>
                  <a:pt x="945049" y="1270252"/>
                </a:cubicBezTo>
                <a:cubicBezTo>
                  <a:pt x="962704" y="1447051"/>
                  <a:pt x="1240744" y="1791020"/>
                  <a:pt x="1243522" y="1794477"/>
                </a:cubicBezTo>
                <a:lnTo>
                  <a:pt x="1249633" y="1802008"/>
                </a:lnTo>
                <a:lnTo>
                  <a:pt x="1238401" y="1802008"/>
                </a:lnTo>
                <a:lnTo>
                  <a:pt x="1239906" y="1803914"/>
                </a:lnTo>
                <a:cubicBezTo>
                  <a:pt x="1242100" y="1806667"/>
                  <a:pt x="1243349" y="1808213"/>
                  <a:pt x="1243522" y="1808429"/>
                </a:cubicBezTo>
                <a:lnTo>
                  <a:pt x="1249633" y="1815960"/>
                </a:lnTo>
                <a:lnTo>
                  <a:pt x="1175493" y="1815960"/>
                </a:lnTo>
                <a:lnTo>
                  <a:pt x="1175003" y="1815342"/>
                </a:lnTo>
                <a:lnTo>
                  <a:pt x="1154257" y="1815342"/>
                </a:lnTo>
                <a:lnTo>
                  <a:pt x="1152838" y="1813552"/>
                </a:lnTo>
                <a:cubicBezTo>
                  <a:pt x="1034251" y="1660828"/>
                  <a:pt x="967519" y="1544958"/>
                  <a:pt x="944308" y="1502239"/>
                </a:cubicBezTo>
                <a:cubicBezTo>
                  <a:pt x="896713" y="1414519"/>
                  <a:pt x="870107" y="1342416"/>
                  <a:pt x="865292" y="1288031"/>
                </a:cubicBezTo>
                <a:lnTo>
                  <a:pt x="864746" y="1257454"/>
                </a:lnTo>
                <a:lnTo>
                  <a:pt x="825660" y="1267907"/>
                </a:lnTo>
                <a:cubicBezTo>
                  <a:pt x="808499" y="1275422"/>
                  <a:pt x="794301" y="1285068"/>
                  <a:pt x="783189" y="1296797"/>
                </a:cubicBezTo>
                <a:cubicBezTo>
                  <a:pt x="769238" y="1311489"/>
                  <a:pt x="759114" y="1330132"/>
                  <a:pt x="752848" y="1352556"/>
                </a:cubicBezTo>
                <a:lnTo>
                  <a:pt x="746521" y="1421575"/>
                </a:lnTo>
                <a:lnTo>
                  <a:pt x="752032" y="1450442"/>
                </a:lnTo>
                <a:cubicBezTo>
                  <a:pt x="763300" y="1487863"/>
                  <a:pt x="789100" y="1537056"/>
                  <a:pt x="828129" y="1595207"/>
                </a:cubicBezTo>
                <a:cubicBezTo>
                  <a:pt x="869551" y="1656877"/>
                  <a:pt x="926592" y="1729473"/>
                  <a:pt x="984743" y="1794291"/>
                </a:cubicBezTo>
                <a:lnTo>
                  <a:pt x="991657" y="1802008"/>
                </a:lnTo>
                <a:lnTo>
                  <a:pt x="979507" y="1802008"/>
                </a:lnTo>
                <a:lnTo>
                  <a:pt x="984743" y="1808244"/>
                </a:lnTo>
                <a:lnTo>
                  <a:pt x="991657" y="1815960"/>
                </a:lnTo>
                <a:lnTo>
                  <a:pt x="913937" y="1815960"/>
                </a:lnTo>
                <a:lnTo>
                  <a:pt x="913414" y="1815342"/>
                </a:lnTo>
                <a:lnTo>
                  <a:pt x="892701" y="1815342"/>
                </a:lnTo>
                <a:lnTo>
                  <a:pt x="891342" y="1813737"/>
                </a:lnTo>
                <a:cubicBezTo>
                  <a:pt x="809548" y="1718547"/>
                  <a:pt x="671454" y="1542550"/>
                  <a:pt x="665960" y="1433347"/>
                </a:cubicBezTo>
                <a:cubicBezTo>
                  <a:pt x="660544" y="1325841"/>
                  <a:pt x="698844" y="1252018"/>
                  <a:pt x="777659" y="1215575"/>
                </a:cubicBezTo>
                <a:lnTo>
                  <a:pt x="782871" y="1214227"/>
                </a:lnTo>
                <a:lnTo>
                  <a:pt x="798895" y="1202240"/>
                </a:lnTo>
                <a:lnTo>
                  <a:pt x="871960" y="1183344"/>
                </a:lnTo>
                <a:lnTo>
                  <a:pt x="881182" y="1146514"/>
                </a:lnTo>
                <a:cubicBezTo>
                  <a:pt x="896253" y="1103924"/>
                  <a:pt x="922419" y="1069317"/>
                  <a:pt x="958330" y="1043673"/>
                </a:cubicBezTo>
                <a:lnTo>
                  <a:pt x="973769" y="1036532"/>
                </a:lnTo>
                <a:lnTo>
                  <a:pt x="979565" y="1030285"/>
                </a:lnTo>
                <a:cubicBezTo>
                  <a:pt x="1027446" y="996086"/>
                  <a:pt x="1092650" y="977829"/>
                  <a:pt x="1171975" y="977829"/>
                </a:cubicBezTo>
                <a:cubicBezTo>
                  <a:pt x="1202779" y="977829"/>
                  <a:pt x="1233491" y="981378"/>
                  <a:pt x="1263909" y="988439"/>
                </a:cubicBezTo>
                <a:lnTo>
                  <a:pt x="1334979" y="1013404"/>
                </a:lnTo>
                <a:lnTo>
                  <a:pt x="1337911" y="985744"/>
                </a:lnTo>
                <a:cubicBezTo>
                  <a:pt x="1347167" y="956426"/>
                  <a:pt x="1367141" y="932624"/>
                  <a:pt x="1391583" y="917133"/>
                </a:cubicBezTo>
                <a:lnTo>
                  <a:pt x="1403456" y="912093"/>
                </a:lnTo>
                <a:lnTo>
                  <a:pt x="1412819" y="903711"/>
                </a:lnTo>
                <a:lnTo>
                  <a:pt x="1430815" y="896084"/>
                </a:lnTo>
                <a:lnTo>
                  <a:pt x="1430815" y="823562"/>
                </a:lnTo>
                <a:cubicBezTo>
                  <a:pt x="1430815" y="815475"/>
                  <a:pt x="1434102" y="808144"/>
                  <a:pt x="1439404" y="802835"/>
                </a:cubicBezTo>
                <a:lnTo>
                  <a:pt x="1458354" y="794955"/>
                </a:lnTo>
                <a:lnTo>
                  <a:pt x="1460640" y="789439"/>
                </a:lnTo>
                <a:cubicBezTo>
                  <a:pt x="1465941" y="784130"/>
                  <a:pt x="1473256" y="780843"/>
                  <a:pt x="1481312" y="780843"/>
                </a:cubicBezTo>
                <a:close/>
                <a:moveTo>
                  <a:pt x="1555329" y="706642"/>
                </a:moveTo>
                <a:lnTo>
                  <a:pt x="1654161" y="706642"/>
                </a:lnTo>
                <a:cubicBezTo>
                  <a:pt x="1670335" y="706642"/>
                  <a:pt x="1683483" y="719791"/>
                  <a:pt x="1683483" y="735965"/>
                </a:cubicBezTo>
                <a:lnTo>
                  <a:pt x="1680590" y="742940"/>
                </a:lnTo>
                <a:lnTo>
                  <a:pt x="1683483" y="749915"/>
                </a:lnTo>
                <a:cubicBezTo>
                  <a:pt x="1683483" y="766089"/>
                  <a:pt x="1670335" y="779238"/>
                  <a:pt x="1654161" y="779238"/>
                </a:cubicBezTo>
                <a:lnTo>
                  <a:pt x="1555329" y="779238"/>
                </a:lnTo>
                <a:lnTo>
                  <a:pt x="1553841" y="778621"/>
                </a:lnTo>
                <a:lnTo>
                  <a:pt x="1534093" y="778621"/>
                </a:lnTo>
                <a:cubicBezTo>
                  <a:pt x="1517919" y="778621"/>
                  <a:pt x="1504770" y="765472"/>
                  <a:pt x="1504770" y="749299"/>
                </a:cubicBezTo>
                <a:cubicBezTo>
                  <a:pt x="1504770" y="741212"/>
                  <a:pt x="1508057" y="733881"/>
                  <a:pt x="1513366" y="728572"/>
                </a:cubicBezTo>
                <a:lnTo>
                  <a:pt x="1532335" y="720705"/>
                </a:lnTo>
                <a:lnTo>
                  <a:pt x="1534602" y="715238"/>
                </a:lnTo>
                <a:cubicBezTo>
                  <a:pt x="1539911" y="709929"/>
                  <a:pt x="1547242" y="706642"/>
                  <a:pt x="1555329" y="706642"/>
                </a:cubicBezTo>
                <a:close/>
                <a:moveTo>
                  <a:pt x="1308526" y="706642"/>
                </a:moveTo>
                <a:lnTo>
                  <a:pt x="1407358" y="706642"/>
                </a:lnTo>
                <a:cubicBezTo>
                  <a:pt x="1423532" y="706642"/>
                  <a:pt x="1436680" y="719791"/>
                  <a:pt x="1436680" y="735965"/>
                </a:cubicBezTo>
                <a:lnTo>
                  <a:pt x="1433787" y="742940"/>
                </a:lnTo>
                <a:lnTo>
                  <a:pt x="1436680" y="749915"/>
                </a:lnTo>
                <a:cubicBezTo>
                  <a:pt x="1436680" y="766089"/>
                  <a:pt x="1423532" y="779238"/>
                  <a:pt x="1407358" y="779238"/>
                </a:cubicBezTo>
                <a:lnTo>
                  <a:pt x="1308526" y="779238"/>
                </a:lnTo>
                <a:lnTo>
                  <a:pt x="1307039" y="778621"/>
                </a:lnTo>
                <a:lnTo>
                  <a:pt x="1287290" y="778621"/>
                </a:lnTo>
                <a:cubicBezTo>
                  <a:pt x="1271116" y="778621"/>
                  <a:pt x="1257967" y="765472"/>
                  <a:pt x="1257967" y="749299"/>
                </a:cubicBezTo>
                <a:cubicBezTo>
                  <a:pt x="1257967" y="741212"/>
                  <a:pt x="1261254" y="733881"/>
                  <a:pt x="1266563" y="728572"/>
                </a:cubicBezTo>
                <a:lnTo>
                  <a:pt x="1285532" y="720705"/>
                </a:lnTo>
                <a:lnTo>
                  <a:pt x="1287799" y="715238"/>
                </a:lnTo>
                <a:cubicBezTo>
                  <a:pt x="1293108" y="709929"/>
                  <a:pt x="1300439" y="706642"/>
                  <a:pt x="1308526" y="706642"/>
                </a:cubicBezTo>
                <a:close/>
                <a:moveTo>
                  <a:pt x="1481313" y="533608"/>
                </a:moveTo>
                <a:cubicBezTo>
                  <a:pt x="1497486" y="533608"/>
                  <a:pt x="1510635" y="546757"/>
                  <a:pt x="1510635" y="562931"/>
                </a:cubicBezTo>
                <a:lnTo>
                  <a:pt x="1510635" y="576882"/>
                </a:lnTo>
                <a:lnTo>
                  <a:pt x="1510635" y="661639"/>
                </a:lnTo>
                <a:lnTo>
                  <a:pt x="1510635" y="675590"/>
                </a:lnTo>
                <a:cubicBezTo>
                  <a:pt x="1510635" y="691764"/>
                  <a:pt x="1497486" y="704913"/>
                  <a:pt x="1481313" y="704913"/>
                </a:cubicBezTo>
                <a:lnTo>
                  <a:pt x="1469951" y="700201"/>
                </a:lnTo>
                <a:lnTo>
                  <a:pt x="1460077" y="704296"/>
                </a:lnTo>
                <a:cubicBezTo>
                  <a:pt x="1443903" y="704296"/>
                  <a:pt x="1430754" y="691147"/>
                  <a:pt x="1430754" y="674973"/>
                </a:cubicBezTo>
                <a:lnTo>
                  <a:pt x="1430754" y="576265"/>
                </a:lnTo>
                <a:cubicBezTo>
                  <a:pt x="1430754" y="568178"/>
                  <a:pt x="1434041" y="560847"/>
                  <a:pt x="1439350" y="555538"/>
                </a:cubicBezTo>
                <a:lnTo>
                  <a:pt x="1458319" y="547671"/>
                </a:lnTo>
                <a:lnTo>
                  <a:pt x="1460586" y="542204"/>
                </a:lnTo>
                <a:cubicBezTo>
                  <a:pt x="1465895" y="536895"/>
                  <a:pt x="1473226" y="533608"/>
                  <a:pt x="1481313" y="533608"/>
                </a:cubicBezTo>
                <a:close/>
                <a:moveTo>
                  <a:pt x="1460077" y="74078"/>
                </a:moveTo>
                <a:cubicBezTo>
                  <a:pt x="1089872" y="74078"/>
                  <a:pt x="741829" y="218221"/>
                  <a:pt x="480025" y="480025"/>
                </a:cubicBezTo>
                <a:cubicBezTo>
                  <a:pt x="218283" y="741829"/>
                  <a:pt x="74078" y="1089872"/>
                  <a:pt x="74078" y="1460139"/>
                </a:cubicBezTo>
                <a:cubicBezTo>
                  <a:pt x="74078" y="1830405"/>
                  <a:pt x="218221" y="2178386"/>
                  <a:pt x="480025" y="2440190"/>
                </a:cubicBezTo>
                <a:cubicBezTo>
                  <a:pt x="741829" y="2701933"/>
                  <a:pt x="1089872" y="2846138"/>
                  <a:pt x="1460077" y="2846138"/>
                </a:cubicBezTo>
                <a:cubicBezTo>
                  <a:pt x="1830282" y="2846138"/>
                  <a:pt x="2178325" y="2701994"/>
                  <a:pt x="2440129" y="2440190"/>
                </a:cubicBezTo>
                <a:cubicBezTo>
                  <a:pt x="2701933" y="2178386"/>
                  <a:pt x="2846076" y="1830344"/>
                  <a:pt x="2846076" y="1460139"/>
                </a:cubicBezTo>
                <a:cubicBezTo>
                  <a:pt x="2846076" y="1089934"/>
                  <a:pt x="2701933" y="741829"/>
                  <a:pt x="2440129" y="480087"/>
                </a:cubicBezTo>
                <a:cubicBezTo>
                  <a:pt x="2178325" y="218345"/>
                  <a:pt x="1830282" y="74078"/>
                  <a:pt x="1460077" y="74078"/>
                </a:cubicBezTo>
                <a:close/>
                <a:moveTo>
                  <a:pt x="1460077" y="0"/>
                </a:moveTo>
                <a:cubicBezTo>
                  <a:pt x="1850098" y="0"/>
                  <a:pt x="2216722" y="151860"/>
                  <a:pt x="2492477" y="427677"/>
                </a:cubicBezTo>
                <a:cubicBezTo>
                  <a:pt x="2768232" y="703494"/>
                  <a:pt x="2920154" y="1070118"/>
                  <a:pt x="2920154" y="1460139"/>
                </a:cubicBezTo>
                <a:cubicBezTo>
                  <a:pt x="2920154" y="1850159"/>
                  <a:pt x="2768294" y="2216784"/>
                  <a:pt x="2492477" y="2492601"/>
                </a:cubicBezTo>
                <a:cubicBezTo>
                  <a:pt x="2216722" y="2768356"/>
                  <a:pt x="1850036" y="2920216"/>
                  <a:pt x="1460077" y="2920216"/>
                </a:cubicBezTo>
                <a:lnTo>
                  <a:pt x="1460077" y="2920154"/>
                </a:lnTo>
                <a:cubicBezTo>
                  <a:pt x="1070056" y="2920154"/>
                  <a:pt x="703432" y="2768294"/>
                  <a:pt x="427615" y="2492539"/>
                </a:cubicBezTo>
                <a:cubicBezTo>
                  <a:pt x="151860" y="2216784"/>
                  <a:pt x="0" y="1850098"/>
                  <a:pt x="0" y="1460139"/>
                </a:cubicBezTo>
                <a:cubicBezTo>
                  <a:pt x="0" y="1070180"/>
                  <a:pt x="151860" y="703432"/>
                  <a:pt x="427677" y="427677"/>
                </a:cubicBezTo>
                <a:cubicBezTo>
                  <a:pt x="703432" y="151922"/>
                  <a:pt x="1070056" y="0"/>
                  <a:pt x="1460077" y="0"/>
                </a:cubicBezTo>
                <a:close/>
              </a:path>
            </a:pathLst>
          </a:custGeom>
          <a:solidFill>
            <a:srgbClr val="FFFFFF"/>
          </a:solidFill>
          <a:ln w="0" cap="flat">
            <a:noFill/>
            <a:prstDash val="solid"/>
            <a:miter/>
          </a:ln>
        </p:spPr>
        <p:txBody>
          <a:bodyPr rtlCol="0" anchor="ctr"/>
          <a:lstStyle/>
          <a:p>
            <a:endParaRPr lang="da-DK" sz="1200" dirty="0"/>
          </a:p>
        </p:txBody>
      </p:sp>
      <p:sp>
        <p:nvSpPr>
          <p:cNvPr id="6" name="Freeform: Shape 5">
            <a:extLst>
              <a:ext uri="{FF2B5EF4-FFF2-40B4-BE49-F238E27FC236}">
                <a16:creationId xmlns:a16="http://schemas.microsoft.com/office/drawing/2014/main" id="{C31210E4-6CFE-786C-805B-F5C2AC2D709F}"/>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88909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DFI_Forside_0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ladsholder til dato 14">
            <a:extLst>
              <a:ext uri="{FF2B5EF4-FFF2-40B4-BE49-F238E27FC236}">
                <a16:creationId xmlns:a16="http://schemas.microsoft.com/office/drawing/2014/main" id="{5E7ADAA3-5CE7-8164-C338-4EC6E9721C68}"/>
              </a:ext>
            </a:extLst>
          </p:cNvPr>
          <p:cNvSpPr>
            <a:spLocks noGrp="1"/>
          </p:cNvSpPr>
          <p:nvPr>
            <p:ph type="dt" sz="half" idx="13"/>
          </p:nvPr>
        </p:nvSpPr>
        <p:spPr>
          <a:xfrm>
            <a:off x="934138" y="4029912"/>
            <a:ext cx="1231973" cy="273844"/>
          </a:xfrm>
          <a:prstGeom prst="rect">
            <a:avLst/>
          </a:prstGeom>
        </p:spPr>
        <p:txBody>
          <a:bodyPr lIns="0"/>
          <a:lstStyle>
            <a:lvl1pPr algn="l">
              <a:defRPr sz="750">
                <a:solidFill>
                  <a:schemeClr val="bg1"/>
                </a:solidFill>
                <a:latin typeface="+mn-lt"/>
                <a:ea typeface="Arial" panose="020B0604020202020204" pitchFamily="34" charset="0"/>
                <a:cs typeface="Arial" panose="020B0604020202020204" pitchFamily="34" charset="0"/>
              </a:defRPr>
            </a:lvl1pPr>
          </a:lstStyle>
          <a:p>
            <a:fld id="{CDF133C1-3D61-48DB-BA18-4BE8A618D4B8}" type="datetime2">
              <a:rPr lang="da-DK" smtClean="0"/>
              <a:t>17. september 2025</a:t>
            </a:fld>
            <a:endParaRPr lang="da-DK" dirty="0"/>
          </a:p>
        </p:txBody>
      </p:sp>
      <p:sp>
        <p:nvSpPr>
          <p:cNvPr id="6" name="Pladsholder til tekst 16">
            <a:extLst>
              <a:ext uri="{FF2B5EF4-FFF2-40B4-BE49-F238E27FC236}">
                <a16:creationId xmlns:a16="http://schemas.microsoft.com/office/drawing/2014/main" id="{CFE47A7C-A370-C214-C81D-7EAE1AE0E43E}"/>
              </a:ext>
            </a:extLst>
          </p:cNvPr>
          <p:cNvSpPr>
            <a:spLocks noGrp="1"/>
          </p:cNvSpPr>
          <p:nvPr>
            <p:ph type="body" sz="quarter" idx="10" hasCustomPrompt="1"/>
          </p:nvPr>
        </p:nvSpPr>
        <p:spPr>
          <a:xfrm>
            <a:off x="934138" y="2067694"/>
            <a:ext cx="7087103" cy="1205443"/>
          </a:xfrm>
          <a:prstGeom prst="rect">
            <a:avLst/>
          </a:prstGeom>
          <a:effectLst>
            <a:softEdge rad="0"/>
          </a:effectLst>
        </p:spPr>
        <p:txBody>
          <a:bodyPr lIns="0" anchor="t" anchorCtr="0">
            <a:noAutofit/>
          </a:bodyPr>
          <a:lstStyle>
            <a:lvl1pPr marL="0" indent="0" algn="l">
              <a:spcBef>
                <a:spcPts val="0"/>
              </a:spcBef>
              <a:spcAft>
                <a:spcPts val="0"/>
              </a:spcAft>
              <a:buNone/>
              <a:defRPr sz="3450" b="0" baseline="0">
                <a:solidFill>
                  <a:schemeClr val="bg1"/>
                </a:solidFill>
                <a:latin typeface="+mj-lt"/>
                <a:ea typeface="Arial" panose="020B0604020202020204" pitchFamily="34" charset="0"/>
                <a:cs typeface="Arial" panose="020B0604020202020204" pitchFamily="34" charset="0"/>
              </a:defRPr>
            </a:lvl1pPr>
          </a:lstStyle>
          <a:p>
            <a:pPr lvl="0"/>
            <a:r>
              <a:rPr lang="da-DK" noProof="0" dirty="0"/>
              <a:t>Her kan du skrive </a:t>
            </a:r>
            <a:br>
              <a:rPr lang="da-DK" noProof="0" dirty="0"/>
            </a:br>
            <a:r>
              <a:rPr lang="da-DK" noProof="0" dirty="0"/>
              <a:t>din titel i to linjer</a:t>
            </a:r>
          </a:p>
        </p:txBody>
      </p:sp>
      <p:sp>
        <p:nvSpPr>
          <p:cNvPr id="7" name="Pladsholder til tekst 16">
            <a:extLst>
              <a:ext uri="{FF2B5EF4-FFF2-40B4-BE49-F238E27FC236}">
                <a16:creationId xmlns:a16="http://schemas.microsoft.com/office/drawing/2014/main" id="{13D14C0C-AF6E-B3B5-04CF-B30A28B94F08}"/>
              </a:ext>
            </a:extLst>
          </p:cNvPr>
          <p:cNvSpPr>
            <a:spLocks noGrp="1"/>
          </p:cNvSpPr>
          <p:nvPr>
            <p:ph type="body" sz="quarter" idx="11" hasCustomPrompt="1"/>
          </p:nvPr>
        </p:nvSpPr>
        <p:spPr>
          <a:xfrm>
            <a:off x="934139" y="3357159"/>
            <a:ext cx="5855997" cy="360040"/>
          </a:xfrm>
          <a:prstGeom prst="rect">
            <a:avLst/>
          </a:prstGeom>
          <a:effectLst>
            <a:softEdge rad="0"/>
          </a:effectLst>
        </p:spPr>
        <p:txBody>
          <a:bodyPr lIns="0" anchor="t">
            <a:noAutofit/>
          </a:bodyPr>
          <a:lstStyle>
            <a:lvl1pPr marL="0" indent="0" algn="l">
              <a:buNone/>
              <a:defRPr sz="1650" b="0" baseline="0">
                <a:solidFill>
                  <a:schemeClr val="bg1"/>
                </a:solidFill>
                <a:latin typeface="+mn-lt"/>
                <a:ea typeface="Arial" panose="020B0604020202020204" pitchFamily="34" charset="0"/>
                <a:cs typeface="Arial" panose="020B0604020202020204" pitchFamily="34" charset="0"/>
              </a:defRPr>
            </a:lvl1pPr>
          </a:lstStyle>
          <a:p>
            <a:pPr lvl="0"/>
            <a:r>
              <a:rPr lang="da-DK" noProof="0" dirty="0"/>
              <a:t>Klik her for at tilføje en underoverskrift</a:t>
            </a:r>
          </a:p>
        </p:txBody>
      </p:sp>
      <p:sp>
        <p:nvSpPr>
          <p:cNvPr id="3" name="Footer Placeholder 8">
            <a:extLst>
              <a:ext uri="{FF2B5EF4-FFF2-40B4-BE49-F238E27FC236}">
                <a16:creationId xmlns:a16="http://schemas.microsoft.com/office/drawing/2014/main" id="{638EDAA7-168D-D570-DCD7-AD88E9FBB12C}"/>
              </a:ext>
            </a:extLst>
          </p:cNvPr>
          <p:cNvSpPr>
            <a:spLocks noGrp="1"/>
          </p:cNvSpPr>
          <p:nvPr>
            <p:ph type="ftr" sz="quarter" idx="17"/>
          </p:nvPr>
        </p:nvSpPr>
        <p:spPr>
          <a:xfrm>
            <a:off x="0" y="5143500"/>
            <a:ext cx="0" cy="0"/>
          </a:xfrm>
          <a:prstGeom prst="rect">
            <a:avLst/>
          </a:prstGeom>
        </p:spPr>
        <p:txBody>
          <a:bodyPr vert="horz" lIns="0" tIns="0" rIns="0" bIns="0" rtlCol="0" anchor="b" anchorCtr="0"/>
          <a:lstStyle>
            <a:defPPr>
              <a:defRPr lang="da-DK"/>
            </a:defPPr>
            <a:lvl1pPr marL="0" algn="l" defTabSz="685800" rtl="0" eaLnBrk="1" latinLnBrk="0" hangingPunct="1">
              <a:defRPr lang="da-DK"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4" name="Slide Number Placeholder 9">
            <a:extLst>
              <a:ext uri="{FF2B5EF4-FFF2-40B4-BE49-F238E27FC236}">
                <a16:creationId xmlns:a16="http://schemas.microsoft.com/office/drawing/2014/main" id="{1B1678E6-0D15-AB37-C146-6EF0C09121AE}"/>
              </a:ext>
            </a:extLst>
          </p:cNvPr>
          <p:cNvSpPr>
            <a:spLocks noGrp="1"/>
          </p:cNvSpPr>
          <p:nvPr>
            <p:ph type="sldNum" sz="quarter" idx="18"/>
          </p:nvPr>
        </p:nvSpPr>
        <p:spPr>
          <a:xfrm>
            <a:off x="0" y="5143500"/>
            <a:ext cx="0" cy="0"/>
          </a:xfrm>
          <a:prstGeom prst="rect">
            <a:avLst/>
          </a:prstGeom>
        </p:spPr>
        <p:txBody>
          <a:bodyPr vert="horz" lIns="0" tIns="0" rIns="0" bIns="0" rtlCol="0" anchor="b" anchorCtr="0"/>
          <a:lstStyle>
            <a:defPPr>
              <a:defRPr lang="da-DK"/>
            </a:defPPr>
            <a:lvl1pPr marL="0" algn="r" defTabSz="685800" rtl="0" eaLnBrk="1" latinLnBrk="0" hangingPunct="1">
              <a:defRPr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8" name="Freeform: Shape 7">
            <a:extLst>
              <a:ext uri="{FF2B5EF4-FFF2-40B4-BE49-F238E27FC236}">
                <a16:creationId xmlns:a16="http://schemas.microsoft.com/office/drawing/2014/main" id="{30C8D966-98F2-387D-B4F9-4B497B15F14E}"/>
              </a:ext>
            </a:extLst>
          </p:cNvPr>
          <p:cNvSpPr/>
          <p:nvPr userDrawn="1"/>
        </p:nvSpPr>
        <p:spPr>
          <a:xfrm>
            <a:off x="934641" y="778409"/>
            <a:ext cx="1141177" cy="1141201"/>
          </a:xfrm>
          <a:custGeom>
            <a:avLst/>
            <a:gdLst>
              <a:gd name="connsiteX0" fmla="*/ 908875 w 2920154"/>
              <a:gd name="connsiteY0" fmla="*/ 2064244 h 2920216"/>
              <a:gd name="connsiteX1" fmla="*/ 2053750 w 2920154"/>
              <a:gd name="connsiteY1" fmla="*/ 2064244 h 2920216"/>
              <a:gd name="connsiteX2" fmla="*/ 2053750 w 2920154"/>
              <a:gd name="connsiteY2" fmla="*/ 2078196 h 2920216"/>
              <a:gd name="connsiteX3" fmla="*/ 2053750 w 2920154"/>
              <a:gd name="connsiteY3" fmla="*/ 2122889 h 2920216"/>
              <a:gd name="connsiteX4" fmla="*/ 2053750 w 2920154"/>
              <a:gd name="connsiteY4" fmla="*/ 2136841 h 2920216"/>
              <a:gd name="connsiteX5" fmla="*/ 908875 w 2920154"/>
              <a:gd name="connsiteY5" fmla="*/ 2136841 h 2920216"/>
              <a:gd name="connsiteX6" fmla="*/ 908875 w 2920154"/>
              <a:gd name="connsiteY6" fmla="*/ 2136223 h 2920216"/>
              <a:gd name="connsiteX7" fmla="*/ 887639 w 2920154"/>
              <a:gd name="connsiteY7" fmla="*/ 2136223 h 2920216"/>
              <a:gd name="connsiteX8" fmla="*/ 887639 w 2920154"/>
              <a:gd name="connsiteY8" fmla="*/ 2077578 h 2920216"/>
              <a:gd name="connsiteX9" fmla="*/ 908875 w 2920154"/>
              <a:gd name="connsiteY9" fmla="*/ 2077578 h 2920216"/>
              <a:gd name="connsiteX10" fmla="*/ 908875 w 2920154"/>
              <a:gd name="connsiteY10" fmla="*/ 1965535 h 2920216"/>
              <a:gd name="connsiteX11" fmla="*/ 2053750 w 2920154"/>
              <a:gd name="connsiteY11" fmla="*/ 1965535 h 2920216"/>
              <a:gd name="connsiteX12" fmla="*/ 2053750 w 2920154"/>
              <a:gd name="connsiteY12" fmla="*/ 1979487 h 2920216"/>
              <a:gd name="connsiteX13" fmla="*/ 2053750 w 2920154"/>
              <a:gd name="connsiteY13" fmla="*/ 2024180 h 2920216"/>
              <a:gd name="connsiteX14" fmla="*/ 2053750 w 2920154"/>
              <a:gd name="connsiteY14" fmla="*/ 2038132 h 2920216"/>
              <a:gd name="connsiteX15" fmla="*/ 908875 w 2920154"/>
              <a:gd name="connsiteY15" fmla="*/ 2038132 h 2920216"/>
              <a:gd name="connsiteX16" fmla="*/ 908875 w 2920154"/>
              <a:gd name="connsiteY16" fmla="*/ 2037514 h 2920216"/>
              <a:gd name="connsiteX17" fmla="*/ 887639 w 2920154"/>
              <a:gd name="connsiteY17" fmla="*/ 2037514 h 2920216"/>
              <a:gd name="connsiteX18" fmla="*/ 887639 w 2920154"/>
              <a:gd name="connsiteY18" fmla="*/ 1978869 h 2920216"/>
              <a:gd name="connsiteX19" fmla="*/ 908875 w 2920154"/>
              <a:gd name="connsiteY19" fmla="*/ 1978869 h 2920216"/>
              <a:gd name="connsiteX20" fmla="*/ 908875 w 2920154"/>
              <a:gd name="connsiteY20" fmla="*/ 1866826 h 2920216"/>
              <a:gd name="connsiteX21" fmla="*/ 2053750 w 2920154"/>
              <a:gd name="connsiteY21" fmla="*/ 1866826 h 2920216"/>
              <a:gd name="connsiteX22" fmla="*/ 2053750 w 2920154"/>
              <a:gd name="connsiteY22" fmla="*/ 1880778 h 2920216"/>
              <a:gd name="connsiteX23" fmla="*/ 2053750 w 2920154"/>
              <a:gd name="connsiteY23" fmla="*/ 1925471 h 2920216"/>
              <a:gd name="connsiteX24" fmla="*/ 2053750 w 2920154"/>
              <a:gd name="connsiteY24" fmla="*/ 1939423 h 2920216"/>
              <a:gd name="connsiteX25" fmla="*/ 908875 w 2920154"/>
              <a:gd name="connsiteY25" fmla="*/ 1939423 h 2920216"/>
              <a:gd name="connsiteX26" fmla="*/ 908875 w 2920154"/>
              <a:gd name="connsiteY26" fmla="*/ 1938805 h 2920216"/>
              <a:gd name="connsiteX27" fmla="*/ 887639 w 2920154"/>
              <a:gd name="connsiteY27" fmla="*/ 1938805 h 2920216"/>
              <a:gd name="connsiteX28" fmla="*/ 887639 w 2920154"/>
              <a:gd name="connsiteY28" fmla="*/ 1880160 h 2920216"/>
              <a:gd name="connsiteX29" fmla="*/ 908875 w 2920154"/>
              <a:gd name="connsiteY29" fmla="*/ 1880160 h 2920216"/>
              <a:gd name="connsiteX30" fmla="*/ 1474198 w 2920154"/>
              <a:gd name="connsiteY30" fmla="*/ 954491 h 2920216"/>
              <a:gd name="connsiteX31" fmla="*/ 1440416 w 2920154"/>
              <a:gd name="connsiteY31" fmla="*/ 964842 h 2920216"/>
              <a:gd name="connsiteX32" fmla="*/ 1413811 w 2920154"/>
              <a:gd name="connsiteY32" fmla="*/ 997197 h 2920216"/>
              <a:gd name="connsiteX33" fmla="*/ 1409446 w 2920154"/>
              <a:gd name="connsiteY33" fmla="*/ 1018819 h 2920216"/>
              <a:gd name="connsiteX34" fmla="*/ 1413811 w 2920154"/>
              <a:gd name="connsiteY34" fmla="*/ 1040441 h 2920216"/>
              <a:gd name="connsiteX35" fmla="*/ 1481436 w 2920154"/>
              <a:gd name="connsiteY35" fmla="*/ 1085365 h 2920216"/>
              <a:gd name="connsiteX36" fmla="*/ 1513081 w 2920154"/>
              <a:gd name="connsiteY36" fmla="*/ 1075668 h 2920216"/>
              <a:gd name="connsiteX37" fmla="*/ 1527824 w 2920154"/>
              <a:gd name="connsiteY37" fmla="*/ 1053775 h 2920216"/>
              <a:gd name="connsiteX38" fmla="*/ 1533598 w 2920154"/>
              <a:gd name="connsiteY38" fmla="*/ 1025177 h 2920216"/>
              <a:gd name="connsiteX39" fmla="*/ 1488753 w 2920154"/>
              <a:gd name="connsiteY39" fmla="*/ 957439 h 2920216"/>
              <a:gd name="connsiteX40" fmla="*/ 1481312 w 2920154"/>
              <a:gd name="connsiteY40" fmla="*/ 780843 h 2920216"/>
              <a:gd name="connsiteX41" fmla="*/ 1510573 w 2920154"/>
              <a:gd name="connsiteY41" fmla="*/ 810166 h 2920216"/>
              <a:gd name="connsiteX42" fmla="*/ 1510573 w 2920154"/>
              <a:gd name="connsiteY42" fmla="*/ 824118 h 2920216"/>
              <a:gd name="connsiteX43" fmla="*/ 1510573 w 2920154"/>
              <a:gd name="connsiteY43" fmla="*/ 887083 h 2920216"/>
              <a:gd name="connsiteX44" fmla="*/ 1608541 w 2920154"/>
              <a:gd name="connsiteY44" fmla="*/ 1020115 h 2920216"/>
              <a:gd name="connsiteX45" fmla="*/ 1790649 w 2920154"/>
              <a:gd name="connsiteY45" fmla="*/ 977829 h 2920216"/>
              <a:gd name="connsiteX46" fmla="*/ 2071528 w 2920154"/>
              <a:gd name="connsiteY46" fmla="*/ 1178395 h 2920216"/>
              <a:gd name="connsiteX47" fmla="*/ 2071590 w 2920154"/>
              <a:gd name="connsiteY47" fmla="*/ 1178395 h 2920216"/>
              <a:gd name="connsiteX48" fmla="*/ 2275490 w 2920154"/>
              <a:gd name="connsiteY48" fmla="*/ 1420012 h 2920216"/>
              <a:gd name="connsiteX49" fmla="*/ 2274628 w 2920154"/>
              <a:gd name="connsiteY49" fmla="*/ 1424789 h 2920216"/>
              <a:gd name="connsiteX50" fmla="*/ 2275490 w 2920154"/>
              <a:gd name="connsiteY50" fmla="*/ 1433965 h 2920216"/>
              <a:gd name="connsiteX51" fmla="*/ 2050108 w 2920154"/>
              <a:gd name="connsiteY51" fmla="*/ 1814355 h 2920216"/>
              <a:gd name="connsiteX52" fmla="*/ 2048749 w 2920154"/>
              <a:gd name="connsiteY52" fmla="*/ 1815960 h 2920216"/>
              <a:gd name="connsiteX53" fmla="*/ 1971029 w 2920154"/>
              <a:gd name="connsiteY53" fmla="*/ 1815960 h 2920216"/>
              <a:gd name="connsiteX54" fmla="*/ 1971583 w 2920154"/>
              <a:gd name="connsiteY54" fmla="*/ 1815342 h 2920216"/>
              <a:gd name="connsiteX55" fmla="*/ 1949855 w 2920154"/>
              <a:gd name="connsiteY55" fmla="*/ 1815342 h 2920216"/>
              <a:gd name="connsiteX56" fmla="*/ 1956769 w 2920154"/>
              <a:gd name="connsiteY56" fmla="*/ 1807626 h 2920216"/>
              <a:gd name="connsiteX57" fmla="*/ 2113382 w 2920154"/>
              <a:gd name="connsiteY57" fmla="*/ 1608541 h 2920216"/>
              <a:gd name="connsiteX58" fmla="*/ 2195917 w 2920154"/>
              <a:gd name="connsiteY58" fmla="*/ 1430384 h 2920216"/>
              <a:gd name="connsiteX59" fmla="*/ 2158323 w 2920154"/>
              <a:gd name="connsiteY59" fmla="*/ 1296179 h 2920216"/>
              <a:gd name="connsiteX60" fmla="*/ 2115859 w 2920154"/>
              <a:gd name="connsiteY60" fmla="*/ 1267289 h 2920216"/>
              <a:gd name="connsiteX61" fmla="*/ 2076786 w 2920154"/>
              <a:gd name="connsiteY61" fmla="*/ 1256831 h 2920216"/>
              <a:gd name="connsiteX62" fmla="*/ 2076220 w 2920154"/>
              <a:gd name="connsiteY62" fmla="*/ 1288648 h 2920216"/>
              <a:gd name="connsiteX63" fmla="*/ 1997142 w 2920154"/>
              <a:gd name="connsiteY63" fmla="*/ 1502857 h 2920216"/>
              <a:gd name="connsiteX64" fmla="*/ 1788674 w 2920154"/>
              <a:gd name="connsiteY64" fmla="*/ 1814170 h 2920216"/>
              <a:gd name="connsiteX65" fmla="*/ 1787254 w 2920154"/>
              <a:gd name="connsiteY65" fmla="*/ 1815960 h 2920216"/>
              <a:gd name="connsiteX66" fmla="*/ 1713114 w 2920154"/>
              <a:gd name="connsiteY66" fmla="*/ 1815960 h 2920216"/>
              <a:gd name="connsiteX67" fmla="*/ 1713616 w 2920154"/>
              <a:gd name="connsiteY67" fmla="*/ 1815342 h 2920216"/>
              <a:gd name="connsiteX68" fmla="*/ 1691940 w 2920154"/>
              <a:gd name="connsiteY68" fmla="*/ 1815342 h 2920216"/>
              <a:gd name="connsiteX69" fmla="*/ 1698052 w 2920154"/>
              <a:gd name="connsiteY69" fmla="*/ 1807811 h 2920216"/>
              <a:gd name="connsiteX70" fmla="*/ 1996462 w 2920154"/>
              <a:gd name="connsiteY70" fmla="*/ 1283956 h 2920216"/>
              <a:gd name="connsiteX71" fmla="*/ 1955534 w 2920154"/>
              <a:gd name="connsiteY71" fmla="*/ 1118454 h 2920216"/>
              <a:gd name="connsiteX72" fmla="*/ 1828991 w 2920154"/>
              <a:gd name="connsiteY72" fmla="*/ 1054127 h 2920216"/>
              <a:gd name="connsiteX73" fmla="*/ 1784872 w 2920154"/>
              <a:gd name="connsiteY73" fmla="*/ 1050922 h 2920216"/>
              <a:gd name="connsiteX74" fmla="*/ 1733424 w 2920154"/>
              <a:gd name="connsiteY74" fmla="*/ 1055248 h 2920216"/>
              <a:gd name="connsiteX75" fmla="*/ 1510696 w 2920154"/>
              <a:gd name="connsiteY75" fmla="*/ 1175247 h 2920216"/>
              <a:gd name="connsiteX76" fmla="*/ 1510696 w 2920154"/>
              <a:gd name="connsiteY76" fmla="*/ 1802070 h 2920216"/>
              <a:gd name="connsiteX77" fmla="*/ 1510696 w 2920154"/>
              <a:gd name="connsiteY77" fmla="*/ 1816022 h 2920216"/>
              <a:gd name="connsiteX78" fmla="*/ 1452113 w 2920154"/>
              <a:gd name="connsiteY78" fmla="*/ 1816022 h 2920216"/>
              <a:gd name="connsiteX79" fmla="*/ 1452113 w 2920154"/>
              <a:gd name="connsiteY79" fmla="*/ 1815404 h 2920216"/>
              <a:gd name="connsiteX80" fmla="*/ 1430877 w 2920154"/>
              <a:gd name="connsiteY80" fmla="*/ 1815404 h 2920216"/>
              <a:gd name="connsiteX81" fmla="*/ 1430877 w 2920154"/>
              <a:gd name="connsiteY81" fmla="*/ 1174629 h 2920216"/>
              <a:gd name="connsiteX82" fmla="*/ 1208150 w 2920154"/>
              <a:gd name="connsiteY82" fmla="*/ 1054630 h 2920216"/>
              <a:gd name="connsiteX83" fmla="*/ 1164594 w 2920154"/>
              <a:gd name="connsiteY83" fmla="*/ 1050968 h 2920216"/>
              <a:gd name="connsiteX84" fmla="*/ 1112547 w 2920154"/>
              <a:gd name="connsiteY84" fmla="*/ 1054755 h 2920216"/>
              <a:gd name="connsiteX85" fmla="*/ 985977 w 2920154"/>
              <a:gd name="connsiteY85" fmla="*/ 1119133 h 2920216"/>
              <a:gd name="connsiteX86" fmla="*/ 943984 w 2920154"/>
              <a:gd name="connsiteY86" fmla="*/ 1225350 h 2920216"/>
              <a:gd name="connsiteX87" fmla="*/ 943405 w 2920154"/>
              <a:gd name="connsiteY87" fmla="*/ 1254778 h 2920216"/>
              <a:gd name="connsiteX88" fmla="*/ 944286 w 2920154"/>
              <a:gd name="connsiteY88" fmla="*/ 1264777 h 2920216"/>
              <a:gd name="connsiteX89" fmla="*/ 945049 w 2920154"/>
              <a:gd name="connsiteY89" fmla="*/ 1270252 h 2920216"/>
              <a:gd name="connsiteX90" fmla="*/ 1243522 w 2920154"/>
              <a:gd name="connsiteY90" fmla="*/ 1794477 h 2920216"/>
              <a:gd name="connsiteX91" fmla="*/ 1249633 w 2920154"/>
              <a:gd name="connsiteY91" fmla="*/ 1802008 h 2920216"/>
              <a:gd name="connsiteX92" fmla="*/ 1238401 w 2920154"/>
              <a:gd name="connsiteY92" fmla="*/ 1802008 h 2920216"/>
              <a:gd name="connsiteX93" fmla="*/ 1239906 w 2920154"/>
              <a:gd name="connsiteY93" fmla="*/ 1803914 h 2920216"/>
              <a:gd name="connsiteX94" fmla="*/ 1243522 w 2920154"/>
              <a:gd name="connsiteY94" fmla="*/ 1808429 h 2920216"/>
              <a:gd name="connsiteX95" fmla="*/ 1249633 w 2920154"/>
              <a:gd name="connsiteY95" fmla="*/ 1815960 h 2920216"/>
              <a:gd name="connsiteX96" fmla="*/ 1175493 w 2920154"/>
              <a:gd name="connsiteY96" fmla="*/ 1815960 h 2920216"/>
              <a:gd name="connsiteX97" fmla="*/ 1175003 w 2920154"/>
              <a:gd name="connsiteY97" fmla="*/ 1815342 h 2920216"/>
              <a:gd name="connsiteX98" fmla="*/ 1154257 w 2920154"/>
              <a:gd name="connsiteY98" fmla="*/ 1815342 h 2920216"/>
              <a:gd name="connsiteX99" fmla="*/ 1152838 w 2920154"/>
              <a:gd name="connsiteY99" fmla="*/ 1813552 h 2920216"/>
              <a:gd name="connsiteX100" fmla="*/ 944308 w 2920154"/>
              <a:gd name="connsiteY100" fmla="*/ 1502239 h 2920216"/>
              <a:gd name="connsiteX101" fmla="*/ 865292 w 2920154"/>
              <a:gd name="connsiteY101" fmla="*/ 1288031 h 2920216"/>
              <a:gd name="connsiteX102" fmla="*/ 864746 w 2920154"/>
              <a:gd name="connsiteY102" fmla="*/ 1257454 h 2920216"/>
              <a:gd name="connsiteX103" fmla="*/ 825660 w 2920154"/>
              <a:gd name="connsiteY103" fmla="*/ 1267907 h 2920216"/>
              <a:gd name="connsiteX104" fmla="*/ 783189 w 2920154"/>
              <a:gd name="connsiteY104" fmla="*/ 1296797 h 2920216"/>
              <a:gd name="connsiteX105" fmla="*/ 752848 w 2920154"/>
              <a:gd name="connsiteY105" fmla="*/ 1352556 h 2920216"/>
              <a:gd name="connsiteX106" fmla="*/ 746521 w 2920154"/>
              <a:gd name="connsiteY106" fmla="*/ 1421575 h 2920216"/>
              <a:gd name="connsiteX107" fmla="*/ 752032 w 2920154"/>
              <a:gd name="connsiteY107" fmla="*/ 1450442 h 2920216"/>
              <a:gd name="connsiteX108" fmla="*/ 828129 w 2920154"/>
              <a:gd name="connsiteY108" fmla="*/ 1595207 h 2920216"/>
              <a:gd name="connsiteX109" fmla="*/ 984743 w 2920154"/>
              <a:gd name="connsiteY109" fmla="*/ 1794291 h 2920216"/>
              <a:gd name="connsiteX110" fmla="*/ 991657 w 2920154"/>
              <a:gd name="connsiteY110" fmla="*/ 1802008 h 2920216"/>
              <a:gd name="connsiteX111" fmla="*/ 979507 w 2920154"/>
              <a:gd name="connsiteY111" fmla="*/ 1802008 h 2920216"/>
              <a:gd name="connsiteX112" fmla="*/ 984743 w 2920154"/>
              <a:gd name="connsiteY112" fmla="*/ 1808244 h 2920216"/>
              <a:gd name="connsiteX113" fmla="*/ 991657 w 2920154"/>
              <a:gd name="connsiteY113" fmla="*/ 1815960 h 2920216"/>
              <a:gd name="connsiteX114" fmla="*/ 913937 w 2920154"/>
              <a:gd name="connsiteY114" fmla="*/ 1815960 h 2920216"/>
              <a:gd name="connsiteX115" fmla="*/ 913414 w 2920154"/>
              <a:gd name="connsiteY115" fmla="*/ 1815342 h 2920216"/>
              <a:gd name="connsiteX116" fmla="*/ 892701 w 2920154"/>
              <a:gd name="connsiteY116" fmla="*/ 1815342 h 2920216"/>
              <a:gd name="connsiteX117" fmla="*/ 891342 w 2920154"/>
              <a:gd name="connsiteY117" fmla="*/ 1813737 h 2920216"/>
              <a:gd name="connsiteX118" fmla="*/ 665960 w 2920154"/>
              <a:gd name="connsiteY118" fmla="*/ 1433347 h 2920216"/>
              <a:gd name="connsiteX119" fmla="*/ 777659 w 2920154"/>
              <a:gd name="connsiteY119" fmla="*/ 1215575 h 2920216"/>
              <a:gd name="connsiteX120" fmla="*/ 782871 w 2920154"/>
              <a:gd name="connsiteY120" fmla="*/ 1214227 h 2920216"/>
              <a:gd name="connsiteX121" fmla="*/ 798895 w 2920154"/>
              <a:gd name="connsiteY121" fmla="*/ 1202240 h 2920216"/>
              <a:gd name="connsiteX122" fmla="*/ 871960 w 2920154"/>
              <a:gd name="connsiteY122" fmla="*/ 1183344 h 2920216"/>
              <a:gd name="connsiteX123" fmla="*/ 881182 w 2920154"/>
              <a:gd name="connsiteY123" fmla="*/ 1146514 h 2920216"/>
              <a:gd name="connsiteX124" fmla="*/ 958330 w 2920154"/>
              <a:gd name="connsiteY124" fmla="*/ 1043673 h 2920216"/>
              <a:gd name="connsiteX125" fmla="*/ 973769 w 2920154"/>
              <a:gd name="connsiteY125" fmla="*/ 1036532 h 2920216"/>
              <a:gd name="connsiteX126" fmla="*/ 979565 w 2920154"/>
              <a:gd name="connsiteY126" fmla="*/ 1030285 h 2920216"/>
              <a:gd name="connsiteX127" fmla="*/ 1171975 w 2920154"/>
              <a:gd name="connsiteY127" fmla="*/ 977829 h 2920216"/>
              <a:gd name="connsiteX128" fmla="*/ 1263909 w 2920154"/>
              <a:gd name="connsiteY128" fmla="*/ 988439 h 2920216"/>
              <a:gd name="connsiteX129" fmla="*/ 1334979 w 2920154"/>
              <a:gd name="connsiteY129" fmla="*/ 1013404 h 2920216"/>
              <a:gd name="connsiteX130" fmla="*/ 1337911 w 2920154"/>
              <a:gd name="connsiteY130" fmla="*/ 985744 h 2920216"/>
              <a:gd name="connsiteX131" fmla="*/ 1391583 w 2920154"/>
              <a:gd name="connsiteY131" fmla="*/ 917133 h 2920216"/>
              <a:gd name="connsiteX132" fmla="*/ 1403456 w 2920154"/>
              <a:gd name="connsiteY132" fmla="*/ 912093 h 2920216"/>
              <a:gd name="connsiteX133" fmla="*/ 1412819 w 2920154"/>
              <a:gd name="connsiteY133" fmla="*/ 903711 h 2920216"/>
              <a:gd name="connsiteX134" fmla="*/ 1430815 w 2920154"/>
              <a:gd name="connsiteY134" fmla="*/ 896084 h 2920216"/>
              <a:gd name="connsiteX135" fmla="*/ 1430815 w 2920154"/>
              <a:gd name="connsiteY135" fmla="*/ 823562 h 2920216"/>
              <a:gd name="connsiteX136" fmla="*/ 1439404 w 2920154"/>
              <a:gd name="connsiteY136" fmla="*/ 802835 h 2920216"/>
              <a:gd name="connsiteX137" fmla="*/ 1458354 w 2920154"/>
              <a:gd name="connsiteY137" fmla="*/ 794955 h 2920216"/>
              <a:gd name="connsiteX138" fmla="*/ 1460640 w 2920154"/>
              <a:gd name="connsiteY138" fmla="*/ 789439 h 2920216"/>
              <a:gd name="connsiteX139" fmla="*/ 1481312 w 2920154"/>
              <a:gd name="connsiteY139" fmla="*/ 780843 h 2920216"/>
              <a:gd name="connsiteX140" fmla="*/ 1555329 w 2920154"/>
              <a:gd name="connsiteY140" fmla="*/ 706642 h 2920216"/>
              <a:gd name="connsiteX141" fmla="*/ 1654161 w 2920154"/>
              <a:gd name="connsiteY141" fmla="*/ 706642 h 2920216"/>
              <a:gd name="connsiteX142" fmla="*/ 1683483 w 2920154"/>
              <a:gd name="connsiteY142" fmla="*/ 735965 h 2920216"/>
              <a:gd name="connsiteX143" fmla="*/ 1680590 w 2920154"/>
              <a:gd name="connsiteY143" fmla="*/ 742940 h 2920216"/>
              <a:gd name="connsiteX144" fmla="*/ 1683483 w 2920154"/>
              <a:gd name="connsiteY144" fmla="*/ 749915 h 2920216"/>
              <a:gd name="connsiteX145" fmla="*/ 1654161 w 2920154"/>
              <a:gd name="connsiteY145" fmla="*/ 779238 h 2920216"/>
              <a:gd name="connsiteX146" fmla="*/ 1555329 w 2920154"/>
              <a:gd name="connsiteY146" fmla="*/ 779238 h 2920216"/>
              <a:gd name="connsiteX147" fmla="*/ 1553841 w 2920154"/>
              <a:gd name="connsiteY147" fmla="*/ 778621 h 2920216"/>
              <a:gd name="connsiteX148" fmla="*/ 1534093 w 2920154"/>
              <a:gd name="connsiteY148" fmla="*/ 778621 h 2920216"/>
              <a:gd name="connsiteX149" fmla="*/ 1504770 w 2920154"/>
              <a:gd name="connsiteY149" fmla="*/ 749299 h 2920216"/>
              <a:gd name="connsiteX150" fmla="*/ 1513366 w 2920154"/>
              <a:gd name="connsiteY150" fmla="*/ 728572 h 2920216"/>
              <a:gd name="connsiteX151" fmla="*/ 1532335 w 2920154"/>
              <a:gd name="connsiteY151" fmla="*/ 720705 h 2920216"/>
              <a:gd name="connsiteX152" fmla="*/ 1534602 w 2920154"/>
              <a:gd name="connsiteY152" fmla="*/ 715238 h 2920216"/>
              <a:gd name="connsiteX153" fmla="*/ 1555329 w 2920154"/>
              <a:gd name="connsiteY153" fmla="*/ 706642 h 2920216"/>
              <a:gd name="connsiteX154" fmla="*/ 1308526 w 2920154"/>
              <a:gd name="connsiteY154" fmla="*/ 706642 h 2920216"/>
              <a:gd name="connsiteX155" fmla="*/ 1407358 w 2920154"/>
              <a:gd name="connsiteY155" fmla="*/ 706642 h 2920216"/>
              <a:gd name="connsiteX156" fmla="*/ 1436680 w 2920154"/>
              <a:gd name="connsiteY156" fmla="*/ 735965 h 2920216"/>
              <a:gd name="connsiteX157" fmla="*/ 1433787 w 2920154"/>
              <a:gd name="connsiteY157" fmla="*/ 742940 h 2920216"/>
              <a:gd name="connsiteX158" fmla="*/ 1436680 w 2920154"/>
              <a:gd name="connsiteY158" fmla="*/ 749915 h 2920216"/>
              <a:gd name="connsiteX159" fmla="*/ 1407358 w 2920154"/>
              <a:gd name="connsiteY159" fmla="*/ 779238 h 2920216"/>
              <a:gd name="connsiteX160" fmla="*/ 1308526 w 2920154"/>
              <a:gd name="connsiteY160" fmla="*/ 779238 h 2920216"/>
              <a:gd name="connsiteX161" fmla="*/ 1307039 w 2920154"/>
              <a:gd name="connsiteY161" fmla="*/ 778621 h 2920216"/>
              <a:gd name="connsiteX162" fmla="*/ 1287290 w 2920154"/>
              <a:gd name="connsiteY162" fmla="*/ 778621 h 2920216"/>
              <a:gd name="connsiteX163" fmla="*/ 1257967 w 2920154"/>
              <a:gd name="connsiteY163" fmla="*/ 749299 h 2920216"/>
              <a:gd name="connsiteX164" fmla="*/ 1266563 w 2920154"/>
              <a:gd name="connsiteY164" fmla="*/ 728572 h 2920216"/>
              <a:gd name="connsiteX165" fmla="*/ 1285532 w 2920154"/>
              <a:gd name="connsiteY165" fmla="*/ 720705 h 2920216"/>
              <a:gd name="connsiteX166" fmla="*/ 1287799 w 2920154"/>
              <a:gd name="connsiteY166" fmla="*/ 715238 h 2920216"/>
              <a:gd name="connsiteX167" fmla="*/ 1308526 w 2920154"/>
              <a:gd name="connsiteY167" fmla="*/ 706642 h 2920216"/>
              <a:gd name="connsiteX168" fmla="*/ 1481313 w 2920154"/>
              <a:gd name="connsiteY168" fmla="*/ 533608 h 2920216"/>
              <a:gd name="connsiteX169" fmla="*/ 1510635 w 2920154"/>
              <a:gd name="connsiteY169" fmla="*/ 562931 h 2920216"/>
              <a:gd name="connsiteX170" fmla="*/ 1510635 w 2920154"/>
              <a:gd name="connsiteY170" fmla="*/ 576882 h 2920216"/>
              <a:gd name="connsiteX171" fmla="*/ 1510635 w 2920154"/>
              <a:gd name="connsiteY171" fmla="*/ 661639 h 2920216"/>
              <a:gd name="connsiteX172" fmla="*/ 1510635 w 2920154"/>
              <a:gd name="connsiteY172" fmla="*/ 675590 h 2920216"/>
              <a:gd name="connsiteX173" fmla="*/ 1481313 w 2920154"/>
              <a:gd name="connsiteY173" fmla="*/ 704913 h 2920216"/>
              <a:gd name="connsiteX174" fmla="*/ 1469951 w 2920154"/>
              <a:gd name="connsiteY174" fmla="*/ 700201 h 2920216"/>
              <a:gd name="connsiteX175" fmla="*/ 1460077 w 2920154"/>
              <a:gd name="connsiteY175" fmla="*/ 704296 h 2920216"/>
              <a:gd name="connsiteX176" fmla="*/ 1430754 w 2920154"/>
              <a:gd name="connsiteY176" fmla="*/ 674973 h 2920216"/>
              <a:gd name="connsiteX177" fmla="*/ 1430754 w 2920154"/>
              <a:gd name="connsiteY177" fmla="*/ 576265 h 2920216"/>
              <a:gd name="connsiteX178" fmla="*/ 1439350 w 2920154"/>
              <a:gd name="connsiteY178" fmla="*/ 555538 h 2920216"/>
              <a:gd name="connsiteX179" fmla="*/ 1458319 w 2920154"/>
              <a:gd name="connsiteY179" fmla="*/ 547671 h 2920216"/>
              <a:gd name="connsiteX180" fmla="*/ 1460586 w 2920154"/>
              <a:gd name="connsiteY180" fmla="*/ 542204 h 2920216"/>
              <a:gd name="connsiteX181" fmla="*/ 1481313 w 2920154"/>
              <a:gd name="connsiteY181" fmla="*/ 533608 h 2920216"/>
              <a:gd name="connsiteX182" fmla="*/ 1460077 w 2920154"/>
              <a:gd name="connsiteY182" fmla="*/ 74078 h 2920216"/>
              <a:gd name="connsiteX183" fmla="*/ 480025 w 2920154"/>
              <a:gd name="connsiteY183" fmla="*/ 480025 h 2920216"/>
              <a:gd name="connsiteX184" fmla="*/ 74078 w 2920154"/>
              <a:gd name="connsiteY184" fmla="*/ 1460139 h 2920216"/>
              <a:gd name="connsiteX185" fmla="*/ 480025 w 2920154"/>
              <a:gd name="connsiteY185" fmla="*/ 2440190 h 2920216"/>
              <a:gd name="connsiteX186" fmla="*/ 1460077 w 2920154"/>
              <a:gd name="connsiteY186" fmla="*/ 2846138 h 2920216"/>
              <a:gd name="connsiteX187" fmla="*/ 2440129 w 2920154"/>
              <a:gd name="connsiteY187" fmla="*/ 2440190 h 2920216"/>
              <a:gd name="connsiteX188" fmla="*/ 2846076 w 2920154"/>
              <a:gd name="connsiteY188" fmla="*/ 1460139 h 2920216"/>
              <a:gd name="connsiteX189" fmla="*/ 2440129 w 2920154"/>
              <a:gd name="connsiteY189" fmla="*/ 480087 h 2920216"/>
              <a:gd name="connsiteX190" fmla="*/ 1460077 w 2920154"/>
              <a:gd name="connsiteY190" fmla="*/ 74078 h 2920216"/>
              <a:gd name="connsiteX191" fmla="*/ 1460077 w 2920154"/>
              <a:gd name="connsiteY191" fmla="*/ 0 h 2920216"/>
              <a:gd name="connsiteX192" fmla="*/ 2492477 w 2920154"/>
              <a:gd name="connsiteY192" fmla="*/ 427677 h 2920216"/>
              <a:gd name="connsiteX193" fmla="*/ 2920154 w 2920154"/>
              <a:gd name="connsiteY193" fmla="*/ 1460139 h 2920216"/>
              <a:gd name="connsiteX194" fmla="*/ 2492477 w 2920154"/>
              <a:gd name="connsiteY194" fmla="*/ 2492601 h 2920216"/>
              <a:gd name="connsiteX195" fmla="*/ 1460077 w 2920154"/>
              <a:gd name="connsiteY195" fmla="*/ 2920216 h 2920216"/>
              <a:gd name="connsiteX196" fmla="*/ 1460077 w 2920154"/>
              <a:gd name="connsiteY196" fmla="*/ 2920154 h 2920216"/>
              <a:gd name="connsiteX197" fmla="*/ 427615 w 2920154"/>
              <a:gd name="connsiteY197" fmla="*/ 2492539 h 2920216"/>
              <a:gd name="connsiteX198" fmla="*/ 0 w 2920154"/>
              <a:gd name="connsiteY198" fmla="*/ 1460139 h 2920216"/>
              <a:gd name="connsiteX199" fmla="*/ 427677 w 2920154"/>
              <a:gd name="connsiteY199" fmla="*/ 427677 h 2920216"/>
              <a:gd name="connsiteX200" fmla="*/ 1460077 w 2920154"/>
              <a:gd name="connsiteY200" fmla="*/ 0 h 292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920154" h="2920216">
                <a:moveTo>
                  <a:pt x="908875" y="2064244"/>
                </a:moveTo>
                <a:lnTo>
                  <a:pt x="2053750" y="2064244"/>
                </a:lnTo>
                <a:lnTo>
                  <a:pt x="2053750" y="2078196"/>
                </a:lnTo>
                <a:lnTo>
                  <a:pt x="2053750" y="2122889"/>
                </a:lnTo>
                <a:lnTo>
                  <a:pt x="2053750" y="2136841"/>
                </a:lnTo>
                <a:lnTo>
                  <a:pt x="908875" y="2136841"/>
                </a:lnTo>
                <a:lnTo>
                  <a:pt x="908875" y="2136223"/>
                </a:lnTo>
                <a:lnTo>
                  <a:pt x="887639" y="2136223"/>
                </a:lnTo>
                <a:lnTo>
                  <a:pt x="887639" y="2077578"/>
                </a:lnTo>
                <a:lnTo>
                  <a:pt x="908875" y="2077578"/>
                </a:lnTo>
                <a:close/>
                <a:moveTo>
                  <a:pt x="908875" y="1965535"/>
                </a:moveTo>
                <a:lnTo>
                  <a:pt x="2053750" y="1965535"/>
                </a:lnTo>
                <a:lnTo>
                  <a:pt x="2053750" y="1979487"/>
                </a:lnTo>
                <a:lnTo>
                  <a:pt x="2053750" y="2024180"/>
                </a:lnTo>
                <a:lnTo>
                  <a:pt x="2053750" y="2038132"/>
                </a:lnTo>
                <a:lnTo>
                  <a:pt x="908875" y="2038132"/>
                </a:lnTo>
                <a:lnTo>
                  <a:pt x="908875" y="2037514"/>
                </a:lnTo>
                <a:lnTo>
                  <a:pt x="887639" y="2037514"/>
                </a:lnTo>
                <a:lnTo>
                  <a:pt x="887639" y="1978869"/>
                </a:lnTo>
                <a:lnTo>
                  <a:pt x="908875" y="1978869"/>
                </a:lnTo>
                <a:close/>
                <a:moveTo>
                  <a:pt x="908875" y="1866826"/>
                </a:moveTo>
                <a:lnTo>
                  <a:pt x="2053750" y="1866826"/>
                </a:lnTo>
                <a:lnTo>
                  <a:pt x="2053750" y="1880778"/>
                </a:lnTo>
                <a:lnTo>
                  <a:pt x="2053750" y="1925471"/>
                </a:lnTo>
                <a:lnTo>
                  <a:pt x="2053750" y="1939423"/>
                </a:lnTo>
                <a:lnTo>
                  <a:pt x="908875" y="1939423"/>
                </a:lnTo>
                <a:lnTo>
                  <a:pt x="908875" y="1938805"/>
                </a:lnTo>
                <a:lnTo>
                  <a:pt x="887639" y="1938805"/>
                </a:lnTo>
                <a:lnTo>
                  <a:pt x="887639" y="1880160"/>
                </a:lnTo>
                <a:lnTo>
                  <a:pt x="908875" y="1880160"/>
                </a:lnTo>
                <a:close/>
                <a:moveTo>
                  <a:pt x="1474198" y="954491"/>
                </a:moveTo>
                <a:lnTo>
                  <a:pt x="1440416" y="964842"/>
                </a:lnTo>
                <a:cubicBezTo>
                  <a:pt x="1428701" y="972775"/>
                  <a:pt x="1419387" y="984006"/>
                  <a:pt x="1413811" y="997197"/>
                </a:cubicBezTo>
                <a:lnTo>
                  <a:pt x="1409446" y="1018819"/>
                </a:lnTo>
                <a:lnTo>
                  <a:pt x="1413811" y="1040441"/>
                </a:lnTo>
                <a:cubicBezTo>
                  <a:pt x="1424963" y="1066822"/>
                  <a:pt x="1451064" y="1085365"/>
                  <a:pt x="1481436" y="1085365"/>
                </a:cubicBezTo>
                <a:lnTo>
                  <a:pt x="1513081" y="1075668"/>
                </a:lnTo>
                <a:lnTo>
                  <a:pt x="1527824" y="1053775"/>
                </a:lnTo>
                <a:cubicBezTo>
                  <a:pt x="1531542" y="1044981"/>
                  <a:pt x="1533598" y="1035316"/>
                  <a:pt x="1533598" y="1025177"/>
                </a:cubicBezTo>
                <a:cubicBezTo>
                  <a:pt x="1533598" y="994758"/>
                  <a:pt x="1515091" y="968612"/>
                  <a:pt x="1488753" y="957439"/>
                </a:cubicBezTo>
                <a:close/>
                <a:moveTo>
                  <a:pt x="1481312" y="780843"/>
                </a:moveTo>
                <a:cubicBezTo>
                  <a:pt x="1497424" y="780843"/>
                  <a:pt x="1510573" y="793992"/>
                  <a:pt x="1510573" y="810166"/>
                </a:cubicBezTo>
                <a:lnTo>
                  <a:pt x="1510573" y="824118"/>
                </a:lnTo>
                <a:lnTo>
                  <a:pt x="1510573" y="887083"/>
                </a:lnTo>
                <a:cubicBezTo>
                  <a:pt x="1565267" y="900047"/>
                  <a:pt x="1614591" y="951901"/>
                  <a:pt x="1608541" y="1020115"/>
                </a:cubicBezTo>
                <a:cubicBezTo>
                  <a:pt x="1667803" y="992027"/>
                  <a:pt x="1729041" y="977829"/>
                  <a:pt x="1790649" y="977829"/>
                </a:cubicBezTo>
                <a:cubicBezTo>
                  <a:pt x="1949300" y="977829"/>
                  <a:pt x="2051466" y="1050919"/>
                  <a:pt x="2071528" y="1178395"/>
                </a:cubicBezTo>
                <a:lnTo>
                  <a:pt x="2071590" y="1178395"/>
                </a:lnTo>
                <a:cubicBezTo>
                  <a:pt x="2212215" y="1193210"/>
                  <a:pt x="2282712" y="1276672"/>
                  <a:pt x="2275490" y="1420012"/>
                </a:cubicBezTo>
                <a:lnTo>
                  <a:pt x="2274628" y="1424789"/>
                </a:lnTo>
                <a:lnTo>
                  <a:pt x="2275490" y="1433965"/>
                </a:lnTo>
                <a:cubicBezTo>
                  <a:pt x="2269996" y="1543168"/>
                  <a:pt x="2131902" y="1719165"/>
                  <a:pt x="2050108" y="1814355"/>
                </a:cubicBezTo>
                <a:lnTo>
                  <a:pt x="2048749" y="1815960"/>
                </a:lnTo>
                <a:lnTo>
                  <a:pt x="1971029" y="1815960"/>
                </a:lnTo>
                <a:lnTo>
                  <a:pt x="1971583" y="1815342"/>
                </a:lnTo>
                <a:lnTo>
                  <a:pt x="1949855" y="1815342"/>
                </a:lnTo>
                <a:lnTo>
                  <a:pt x="1956769" y="1807626"/>
                </a:lnTo>
                <a:cubicBezTo>
                  <a:pt x="2014920" y="1742807"/>
                  <a:pt x="2072022" y="1670211"/>
                  <a:pt x="2113382" y="1608541"/>
                </a:cubicBezTo>
                <a:cubicBezTo>
                  <a:pt x="2165422" y="1531006"/>
                  <a:pt x="2193942" y="1469398"/>
                  <a:pt x="2195917" y="1430384"/>
                </a:cubicBezTo>
                <a:cubicBezTo>
                  <a:pt x="2198881" y="1370751"/>
                  <a:pt x="2186225" y="1325563"/>
                  <a:pt x="2158323" y="1296179"/>
                </a:cubicBezTo>
                <a:cubicBezTo>
                  <a:pt x="2147211" y="1284450"/>
                  <a:pt x="2133013" y="1274804"/>
                  <a:pt x="2115859" y="1267289"/>
                </a:cubicBezTo>
                <a:lnTo>
                  <a:pt x="2076786" y="1256831"/>
                </a:lnTo>
                <a:lnTo>
                  <a:pt x="2076220" y="1288648"/>
                </a:lnTo>
                <a:cubicBezTo>
                  <a:pt x="2071343" y="1343096"/>
                  <a:pt x="2044737" y="1415136"/>
                  <a:pt x="1997142" y="1502857"/>
                </a:cubicBezTo>
                <a:cubicBezTo>
                  <a:pt x="1973992" y="1545575"/>
                  <a:pt x="1907199" y="1661446"/>
                  <a:pt x="1788674" y="1814170"/>
                </a:cubicBezTo>
                <a:lnTo>
                  <a:pt x="1787254" y="1815960"/>
                </a:lnTo>
                <a:lnTo>
                  <a:pt x="1713114" y="1815960"/>
                </a:lnTo>
                <a:lnTo>
                  <a:pt x="1713616" y="1815342"/>
                </a:lnTo>
                <a:lnTo>
                  <a:pt x="1691940" y="1815342"/>
                </a:lnTo>
                <a:lnTo>
                  <a:pt x="1698052" y="1807811"/>
                </a:lnTo>
                <a:cubicBezTo>
                  <a:pt x="1700891" y="1804354"/>
                  <a:pt x="1978869" y="1460323"/>
                  <a:pt x="1996462" y="1283956"/>
                </a:cubicBezTo>
                <a:cubicBezTo>
                  <a:pt x="1997141" y="1279635"/>
                  <a:pt x="2012266" y="1185494"/>
                  <a:pt x="1955534" y="1118454"/>
                </a:cubicBezTo>
                <a:cubicBezTo>
                  <a:pt x="1926644" y="1084285"/>
                  <a:pt x="1884211" y="1062756"/>
                  <a:pt x="1828991" y="1054127"/>
                </a:cubicBezTo>
                <a:lnTo>
                  <a:pt x="1784872" y="1050922"/>
                </a:lnTo>
                <a:lnTo>
                  <a:pt x="1733424" y="1055248"/>
                </a:lnTo>
                <a:cubicBezTo>
                  <a:pt x="1605628" y="1076791"/>
                  <a:pt x="1521391" y="1163688"/>
                  <a:pt x="1510696" y="1175247"/>
                </a:cubicBezTo>
                <a:lnTo>
                  <a:pt x="1510696" y="1802070"/>
                </a:lnTo>
                <a:lnTo>
                  <a:pt x="1510696" y="1816022"/>
                </a:lnTo>
                <a:lnTo>
                  <a:pt x="1452113" y="1816022"/>
                </a:lnTo>
                <a:lnTo>
                  <a:pt x="1452113" y="1815404"/>
                </a:lnTo>
                <a:lnTo>
                  <a:pt x="1430877" y="1815404"/>
                </a:lnTo>
                <a:lnTo>
                  <a:pt x="1430877" y="1174629"/>
                </a:lnTo>
                <a:cubicBezTo>
                  <a:pt x="1420182" y="1163070"/>
                  <a:pt x="1335946" y="1076173"/>
                  <a:pt x="1208150" y="1054630"/>
                </a:cubicBezTo>
                <a:lnTo>
                  <a:pt x="1164594" y="1050968"/>
                </a:lnTo>
                <a:lnTo>
                  <a:pt x="1112547" y="1054755"/>
                </a:lnTo>
                <a:cubicBezTo>
                  <a:pt x="1057301" y="1063401"/>
                  <a:pt x="1014868" y="1084964"/>
                  <a:pt x="985977" y="1119133"/>
                </a:cubicBezTo>
                <a:cubicBezTo>
                  <a:pt x="957612" y="1152684"/>
                  <a:pt x="947210" y="1192964"/>
                  <a:pt x="943984" y="1225350"/>
                </a:cubicBezTo>
                <a:lnTo>
                  <a:pt x="943405" y="1254778"/>
                </a:lnTo>
                <a:lnTo>
                  <a:pt x="944286" y="1264777"/>
                </a:lnTo>
                <a:cubicBezTo>
                  <a:pt x="944654" y="1267857"/>
                  <a:pt x="944964" y="1269758"/>
                  <a:pt x="945049" y="1270252"/>
                </a:cubicBezTo>
                <a:cubicBezTo>
                  <a:pt x="962704" y="1447051"/>
                  <a:pt x="1240744" y="1791020"/>
                  <a:pt x="1243522" y="1794477"/>
                </a:cubicBezTo>
                <a:lnTo>
                  <a:pt x="1249633" y="1802008"/>
                </a:lnTo>
                <a:lnTo>
                  <a:pt x="1238401" y="1802008"/>
                </a:lnTo>
                <a:lnTo>
                  <a:pt x="1239906" y="1803914"/>
                </a:lnTo>
                <a:cubicBezTo>
                  <a:pt x="1242100" y="1806667"/>
                  <a:pt x="1243349" y="1808213"/>
                  <a:pt x="1243522" y="1808429"/>
                </a:cubicBezTo>
                <a:lnTo>
                  <a:pt x="1249633" y="1815960"/>
                </a:lnTo>
                <a:lnTo>
                  <a:pt x="1175493" y="1815960"/>
                </a:lnTo>
                <a:lnTo>
                  <a:pt x="1175003" y="1815342"/>
                </a:lnTo>
                <a:lnTo>
                  <a:pt x="1154257" y="1815342"/>
                </a:lnTo>
                <a:lnTo>
                  <a:pt x="1152838" y="1813552"/>
                </a:lnTo>
                <a:cubicBezTo>
                  <a:pt x="1034251" y="1660828"/>
                  <a:pt x="967519" y="1544958"/>
                  <a:pt x="944308" y="1502239"/>
                </a:cubicBezTo>
                <a:cubicBezTo>
                  <a:pt x="896713" y="1414519"/>
                  <a:pt x="870107" y="1342416"/>
                  <a:pt x="865292" y="1288031"/>
                </a:cubicBezTo>
                <a:lnTo>
                  <a:pt x="864746" y="1257454"/>
                </a:lnTo>
                <a:lnTo>
                  <a:pt x="825660" y="1267907"/>
                </a:lnTo>
                <a:cubicBezTo>
                  <a:pt x="808499" y="1275422"/>
                  <a:pt x="794301" y="1285068"/>
                  <a:pt x="783189" y="1296797"/>
                </a:cubicBezTo>
                <a:cubicBezTo>
                  <a:pt x="769238" y="1311489"/>
                  <a:pt x="759114" y="1330132"/>
                  <a:pt x="752848" y="1352556"/>
                </a:cubicBezTo>
                <a:lnTo>
                  <a:pt x="746521" y="1421575"/>
                </a:lnTo>
                <a:lnTo>
                  <a:pt x="752032" y="1450442"/>
                </a:lnTo>
                <a:cubicBezTo>
                  <a:pt x="763300" y="1487863"/>
                  <a:pt x="789100" y="1537056"/>
                  <a:pt x="828129" y="1595207"/>
                </a:cubicBezTo>
                <a:cubicBezTo>
                  <a:pt x="869551" y="1656877"/>
                  <a:pt x="926592" y="1729473"/>
                  <a:pt x="984743" y="1794291"/>
                </a:cubicBezTo>
                <a:lnTo>
                  <a:pt x="991657" y="1802008"/>
                </a:lnTo>
                <a:lnTo>
                  <a:pt x="979507" y="1802008"/>
                </a:lnTo>
                <a:lnTo>
                  <a:pt x="984743" y="1808244"/>
                </a:lnTo>
                <a:lnTo>
                  <a:pt x="991657" y="1815960"/>
                </a:lnTo>
                <a:lnTo>
                  <a:pt x="913937" y="1815960"/>
                </a:lnTo>
                <a:lnTo>
                  <a:pt x="913414" y="1815342"/>
                </a:lnTo>
                <a:lnTo>
                  <a:pt x="892701" y="1815342"/>
                </a:lnTo>
                <a:lnTo>
                  <a:pt x="891342" y="1813737"/>
                </a:lnTo>
                <a:cubicBezTo>
                  <a:pt x="809548" y="1718547"/>
                  <a:pt x="671454" y="1542550"/>
                  <a:pt x="665960" y="1433347"/>
                </a:cubicBezTo>
                <a:cubicBezTo>
                  <a:pt x="660544" y="1325841"/>
                  <a:pt x="698844" y="1252018"/>
                  <a:pt x="777659" y="1215575"/>
                </a:cubicBezTo>
                <a:lnTo>
                  <a:pt x="782871" y="1214227"/>
                </a:lnTo>
                <a:lnTo>
                  <a:pt x="798895" y="1202240"/>
                </a:lnTo>
                <a:lnTo>
                  <a:pt x="871960" y="1183344"/>
                </a:lnTo>
                <a:lnTo>
                  <a:pt x="881182" y="1146514"/>
                </a:lnTo>
                <a:cubicBezTo>
                  <a:pt x="896253" y="1103924"/>
                  <a:pt x="922419" y="1069317"/>
                  <a:pt x="958330" y="1043673"/>
                </a:cubicBezTo>
                <a:lnTo>
                  <a:pt x="973769" y="1036532"/>
                </a:lnTo>
                <a:lnTo>
                  <a:pt x="979565" y="1030285"/>
                </a:lnTo>
                <a:cubicBezTo>
                  <a:pt x="1027446" y="996086"/>
                  <a:pt x="1092650" y="977829"/>
                  <a:pt x="1171975" y="977829"/>
                </a:cubicBezTo>
                <a:cubicBezTo>
                  <a:pt x="1202779" y="977829"/>
                  <a:pt x="1233491" y="981378"/>
                  <a:pt x="1263909" y="988439"/>
                </a:cubicBezTo>
                <a:lnTo>
                  <a:pt x="1334979" y="1013404"/>
                </a:lnTo>
                <a:lnTo>
                  <a:pt x="1337911" y="985744"/>
                </a:lnTo>
                <a:cubicBezTo>
                  <a:pt x="1347167" y="956426"/>
                  <a:pt x="1367141" y="932624"/>
                  <a:pt x="1391583" y="917133"/>
                </a:cubicBezTo>
                <a:lnTo>
                  <a:pt x="1403456" y="912093"/>
                </a:lnTo>
                <a:lnTo>
                  <a:pt x="1412819" y="903711"/>
                </a:lnTo>
                <a:lnTo>
                  <a:pt x="1430815" y="896084"/>
                </a:lnTo>
                <a:lnTo>
                  <a:pt x="1430815" y="823562"/>
                </a:lnTo>
                <a:cubicBezTo>
                  <a:pt x="1430815" y="815475"/>
                  <a:pt x="1434102" y="808144"/>
                  <a:pt x="1439404" y="802835"/>
                </a:cubicBezTo>
                <a:lnTo>
                  <a:pt x="1458354" y="794955"/>
                </a:lnTo>
                <a:lnTo>
                  <a:pt x="1460640" y="789439"/>
                </a:lnTo>
                <a:cubicBezTo>
                  <a:pt x="1465941" y="784130"/>
                  <a:pt x="1473256" y="780843"/>
                  <a:pt x="1481312" y="780843"/>
                </a:cubicBezTo>
                <a:close/>
                <a:moveTo>
                  <a:pt x="1555329" y="706642"/>
                </a:moveTo>
                <a:lnTo>
                  <a:pt x="1654161" y="706642"/>
                </a:lnTo>
                <a:cubicBezTo>
                  <a:pt x="1670335" y="706642"/>
                  <a:pt x="1683483" y="719791"/>
                  <a:pt x="1683483" y="735965"/>
                </a:cubicBezTo>
                <a:lnTo>
                  <a:pt x="1680590" y="742940"/>
                </a:lnTo>
                <a:lnTo>
                  <a:pt x="1683483" y="749915"/>
                </a:lnTo>
                <a:cubicBezTo>
                  <a:pt x="1683483" y="766089"/>
                  <a:pt x="1670335" y="779238"/>
                  <a:pt x="1654161" y="779238"/>
                </a:cubicBezTo>
                <a:lnTo>
                  <a:pt x="1555329" y="779238"/>
                </a:lnTo>
                <a:lnTo>
                  <a:pt x="1553841" y="778621"/>
                </a:lnTo>
                <a:lnTo>
                  <a:pt x="1534093" y="778621"/>
                </a:lnTo>
                <a:cubicBezTo>
                  <a:pt x="1517919" y="778621"/>
                  <a:pt x="1504770" y="765472"/>
                  <a:pt x="1504770" y="749299"/>
                </a:cubicBezTo>
                <a:cubicBezTo>
                  <a:pt x="1504770" y="741212"/>
                  <a:pt x="1508057" y="733881"/>
                  <a:pt x="1513366" y="728572"/>
                </a:cubicBezTo>
                <a:lnTo>
                  <a:pt x="1532335" y="720705"/>
                </a:lnTo>
                <a:lnTo>
                  <a:pt x="1534602" y="715238"/>
                </a:lnTo>
                <a:cubicBezTo>
                  <a:pt x="1539911" y="709929"/>
                  <a:pt x="1547242" y="706642"/>
                  <a:pt x="1555329" y="706642"/>
                </a:cubicBezTo>
                <a:close/>
                <a:moveTo>
                  <a:pt x="1308526" y="706642"/>
                </a:moveTo>
                <a:lnTo>
                  <a:pt x="1407358" y="706642"/>
                </a:lnTo>
                <a:cubicBezTo>
                  <a:pt x="1423532" y="706642"/>
                  <a:pt x="1436680" y="719791"/>
                  <a:pt x="1436680" y="735965"/>
                </a:cubicBezTo>
                <a:lnTo>
                  <a:pt x="1433787" y="742940"/>
                </a:lnTo>
                <a:lnTo>
                  <a:pt x="1436680" y="749915"/>
                </a:lnTo>
                <a:cubicBezTo>
                  <a:pt x="1436680" y="766089"/>
                  <a:pt x="1423532" y="779238"/>
                  <a:pt x="1407358" y="779238"/>
                </a:cubicBezTo>
                <a:lnTo>
                  <a:pt x="1308526" y="779238"/>
                </a:lnTo>
                <a:lnTo>
                  <a:pt x="1307039" y="778621"/>
                </a:lnTo>
                <a:lnTo>
                  <a:pt x="1287290" y="778621"/>
                </a:lnTo>
                <a:cubicBezTo>
                  <a:pt x="1271116" y="778621"/>
                  <a:pt x="1257967" y="765472"/>
                  <a:pt x="1257967" y="749299"/>
                </a:cubicBezTo>
                <a:cubicBezTo>
                  <a:pt x="1257967" y="741212"/>
                  <a:pt x="1261254" y="733881"/>
                  <a:pt x="1266563" y="728572"/>
                </a:cubicBezTo>
                <a:lnTo>
                  <a:pt x="1285532" y="720705"/>
                </a:lnTo>
                <a:lnTo>
                  <a:pt x="1287799" y="715238"/>
                </a:lnTo>
                <a:cubicBezTo>
                  <a:pt x="1293108" y="709929"/>
                  <a:pt x="1300439" y="706642"/>
                  <a:pt x="1308526" y="706642"/>
                </a:cubicBezTo>
                <a:close/>
                <a:moveTo>
                  <a:pt x="1481313" y="533608"/>
                </a:moveTo>
                <a:cubicBezTo>
                  <a:pt x="1497486" y="533608"/>
                  <a:pt x="1510635" y="546757"/>
                  <a:pt x="1510635" y="562931"/>
                </a:cubicBezTo>
                <a:lnTo>
                  <a:pt x="1510635" y="576882"/>
                </a:lnTo>
                <a:lnTo>
                  <a:pt x="1510635" y="661639"/>
                </a:lnTo>
                <a:lnTo>
                  <a:pt x="1510635" y="675590"/>
                </a:lnTo>
                <a:cubicBezTo>
                  <a:pt x="1510635" y="691764"/>
                  <a:pt x="1497486" y="704913"/>
                  <a:pt x="1481313" y="704913"/>
                </a:cubicBezTo>
                <a:lnTo>
                  <a:pt x="1469951" y="700201"/>
                </a:lnTo>
                <a:lnTo>
                  <a:pt x="1460077" y="704296"/>
                </a:lnTo>
                <a:cubicBezTo>
                  <a:pt x="1443903" y="704296"/>
                  <a:pt x="1430754" y="691147"/>
                  <a:pt x="1430754" y="674973"/>
                </a:cubicBezTo>
                <a:lnTo>
                  <a:pt x="1430754" y="576265"/>
                </a:lnTo>
                <a:cubicBezTo>
                  <a:pt x="1430754" y="568178"/>
                  <a:pt x="1434041" y="560847"/>
                  <a:pt x="1439350" y="555538"/>
                </a:cubicBezTo>
                <a:lnTo>
                  <a:pt x="1458319" y="547671"/>
                </a:lnTo>
                <a:lnTo>
                  <a:pt x="1460586" y="542204"/>
                </a:lnTo>
                <a:cubicBezTo>
                  <a:pt x="1465895" y="536895"/>
                  <a:pt x="1473226" y="533608"/>
                  <a:pt x="1481313" y="533608"/>
                </a:cubicBezTo>
                <a:close/>
                <a:moveTo>
                  <a:pt x="1460077" y="74078"/>
                </a:moveTo>
                <a:cubicBezTo>
                  <a:pt x="1089872" y="74078"/>
                  <a:pt x="741829" y="218221"/>
                  <a:pt x="480025" y="480025"/>
                </a:cubicBezTo>
                <a:cubicBezTo>
                  <a:pt x="218283" y="741829"/>
                  <a:pt x="74078" y="1089872"/>
                  <a:pt x="74078" y="1460139"/>
                </a:cubicBezTo>
                <a:cubicBezTo>
                  <a:pt x="74078" y="1830405"/>
                  <a:pt x="218221" y="2178386"/>
                  <a:pt x="480025" y="2440190"/>
                </a:cubicBezTo>
                <a:cubicBezTo>
                  <a:pt x="741829" y="2701933"/>
                  <a:pt x="1089872" y="2846138"/>
                  <a:pt x="1460077" y="2846138"/>
                </a:cubicBezTo>
                <a:cubicBezTo>
                  <a:pt x="1830282" y="2846138"/>
                  <a:pt x="2178325" y="2701994"/>
                  <a:pt x="2440129" y="2440190"/>
                </a:cubicBezTo>
                <a:cubicBezTo>
                  <a:pt x="2701933" y="2178386"/>
                  <a:pt x="2846076" y="1830344"/>
                  <a:pt x="2846076" y="1460139"/>
                </a:cubicBezTo>
                <a:cubicBezTo>
                  <a:pt x="2846076" y="1089934"/>
                  <a:pt x="2701933" y="741829"/>
                  <a:pt x="2440129" y="480087"/>
                </a:cubicBezTo>
                <a:cubicBezTo>
                  <a:pt x="2178325" y="218345"/>
                  <a:pt x="1830282" y="74078"/>
                  <a:pt x="1460077" y="74078"/>
                </a:cubicBezTo>
                <a:close/>
                <a:moveTo>
                  <a:pt x="1460077" y="0"/>
                </a:moveTo>
                <a:cubicBezTo>
                  <a:pt x="1850098" y="0"/>
                  <a:pt x="2216722" y="151860"/>
                  <a:pt x="2492477" y="427677"/>
                </a:cubicBezTo>
                <a:cubicBezTo>
                  <a:pt x="2768232" y="703494"/>
                  <a:pt x="2920154" y="1070118"/>
                  <a:pt x="2920154" y="1460139"/>
                </a:cubicBezTo>
                <a:cubicBezTo>
                  <a:pt x="2920154" y="1850159"/>
                  <a:pt x="2768294" y="2216784"/>
                  <a:pt x="2492477" y="2492601"/>
                </a:cubicBezTo>
                <a:cubicBezTo>
                  <a:pt x="2216722" y="2768356"/>
                  <a:pt x="1850036" y="2920216"/>
                  <a:pt x="1460077" y="2920216"/>
                </a:cubicBezTo>
                <a:lnTo>
                  <a:pt x="1460077" y="2920154"/>
                </a:lnTo>
                <a:cubicBezTo>
                  <a:pt x="1070056" y="2920154"/>
                  <a:pt x="703432" y="2768294"/>
                  <a:pt x="427615" y="2492539"/>
                </a:cubicBezTo>
                <a:cubicBezTo>
                  <a:pt x="151860" y="2216784"/>
                  <a:pt x="0" y="1850098"/>
                  <a:pt x="0" y="1460139"/>
                </a:cubicBezTo>
                <a:cubicBezTo>
                  <a:pt x="0" y="1070180"/>
                  <a:pt x="151860" y="703432"/>
                  <a:pt x="427677" y="427677"/>
                </a:cubicBezTo>
                <a:cubicBezTo>
                  <a:pt x="703432" y="151922"/>
                  <a:pt x="1070056" y="0"/>
                  <a:pt x="1460077" y="0"/>
                </a:cubicBezTo>
                <a:close/>
              </a:path>
            </a:pathLst>
          </a:custGeom>
          <a:solidFill>
            <a:srgbClr val="FFFFFF"/>
          </a:solidFill>
          <a:ln w="0" cap="flat">
            <a:noFill/>
            <a:prstDash val="solid"/>
            <a:miter/>
          </a:ln>
        </p:spPr>
        <p:txBody>
          <a:bodyPr rtlCol="0" anchor="ctr"/>
          <a:lstStyle/>
          <a:p>
            <a:endParaRPr lang="da-DK" sz="1200" dirty="0"/>
          </a:p>
        </p:txBody>
      </p:sp>
      <p:sp>
        <p:nvSpPr>
          <p:cNvPr id="9" name="Freeform: Shape 8">
            <a:extLst>
              <a:ext uri="{FF2B5EF4-FFF2-40B4-BE49-F238E27FC236}">
                <a16:creationId xmlns:a16="http://schemas.microsoft.com/office/drawing/2014/main" id="{C504E4DC-3E7C-B496-C1CB-378B0B50AB5C}"/>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409073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DFI_Forside_0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ladsholder til dato 14">
            <a:extLst>
              <a:ext uri="{FF2B5EF4-FFF2-40B4-BE49-F238E27FC236}">
                <a16:creationId xmlns:a16="http://schemas.microsoft.com/office/drawing/2014/main" id="{47AA7A74-F342-83E8-9CD6-7CEDC26B079D}"/>
              </a:ext>
            </a:extLst>
          </p:cNvPr>
          <p:cNvSpPr>
            <a:spLocks noGrp="1"/>
          </p:cNvSpPr>
          <p:nvPr>
            <p:ph type="dt" sz="half" idx="13"/>
          </p:nvPr>
        </p:nvSpPr>
        <p:spPr>
          <a:xfrm>
            <a:off x="934138" y="4029912"/>
            <a:ext cx="1231973" cy="273844"/>
          </a:xfrm>
          <a:prstGeom prst="rect">
            <a:avLst/>
          </a:prstGeom>
        </p:spPr>
        <p:txBody>
          <a:bodyPr lIns="0" rIns="0"/>
          <a:lstStyle>
            <a:lvl1pPr algn="l">
              <a:defRPr sz="750">
                <a:solidFill>
                  <a:schemeClr val="bg1"/>
                </a:solidFill>
                <a:latin typeface="+mn-lt"/>
                <a:ea typeface="Arial" panose="020B0604020202020204" pitchFamily="34" charset="0"/>
                <a:cs typeface="Arial" panose="020B0604020202020204" pitchFamily="34" charset="0"/>
              </a:defRPr>
            </a:lvl1pPr>
          </a:lstStyle>
          <a:p>
            <a:fld id="{0BCE0CD3-1D67-436F-A507-D830CCFC77E9}" type="datetime2">
              <a:rPr lang="da-DK" smtClean="0"/>
              <a:t>17. september 2025</a:t>
            </a:fld>
            <a:endParaRPr lang="da-DK" dirty="0"/>
          </a:p>
        </p:txBody>
      </p:sp>
      <p:sp>
        <p:nvSpPr>
          <p:cNvPr id="7" name="Pladsholder til tekst 16">
            <a:extLst>
              <a:ext uri="{FF2B5EF4-FFF2-40B4-BE49-F238E27FC236}">
                <a16:creationId xmlns:a16="http://schemas.microsoft.com/office/drawing/2014/main" id="{962E8DEC-5B63-7622-5198-9DD590FAE31B}"/>
              </a:ext>
            </a:extLst>
          </p:cNvPr>
          <p:cNvSpPr>
            <a:spLocks noGrp="1"/>
          </p:cNvSpPr>
          <p:nvPr>
            <p:ph type="body" sz="quarter" idx="10" hasCustomPrompt="1"/>
          </p:nvPr>
        </p:nvSpPr>
        <p:spPr>
          <a:xfrm>
            <a:off x="934138" y="2067694"/>
            <a:ext cx="7087103" cy="1205443"/>
          </a:xfrm>
          <a:prstGeom prst="rect">
            <a:avLst/>
          </a:prstGeom>
          <a:effectLst>
            <a:softEdge rad="0"/>
          </a:effectLst>
        </p:spPr>
        <p:txBody>
          <a:bodyPr lIns="0" rIns="0" anchor="t" anchorCtr="0">
            <a:noAutofit/>
          </a:bodyPr>
          <a:lstStyle>
            <a:lvl1pPr marL="0" indent="0" algn="l">
              <a:spcBef>
                <a:spcPts val="0"/>
              </a:spcBef>
              <a:spcAft>
                <a:spcPts val="0"/>
              </a:spcAft>
              <a:buNone/>
              <a:defRPr sz="3450" b="0" baseline="0">
                <a:solidFill>
                  <a:schemeClr val="bg1"/>
                </a:solidFill>
                <a:latin typeface="+mj-lt"/>
                <a:ea typeface="Arial" panose="020B0604020202020204" pitchFamily="34" charset="0"/>
                <a:cs typeface="Arial" panose="020B0604020202020204" pitchFamily="34" charset="0"/>
              </a:defRPr>
            </a:lvl1pPr>
          </a:lstStyle>
          <a:p>
            <a:pPr lvl="0"/>
            <a:r>
              <a:rPr lang="da-DK" noProof="0" dirty="0"/>
              <a:t>Her kan du skrive </a:t>
            </a:r>
            <a:br>
              <a:rPr lang="da-DK" noProof="0" dirty="0"/>
            </a:br>
            <a:r>
              <a:rPr lang="da-DK" noProof="0" dirty="0"/>
              <a:t>din titel i to linjer</a:t>
            </a:r>
          </a:p>
        </p:txBody>
      </p:sp>
      <p:sp>
        <p:nvSpPr>
          <p:cNvPr id="12" name="Pladsholder til tekst 16">
            <a:extLst>
              <a:ext uri="{FF2B5EF4-FFF2-40B4-BE49-F238E27FC236}">
                <a16:creationId xmlns:a16="http://schemas.microsoft.com/office/drawing/2014/main" id="{3FE35B58-6415-9E3D-B7D1-0551212A0D05}"/>
              </a:ext>
            </a:extLst>
          </p:cNvPr>
          <p:cNvSpPr>
            <a:spLocks noGrp="1"/>
          </p:cNvSpPr>
          <p:nvPr>
            <p:ph type="body" sz="quarter" idx="11" hasCustomPrompt="1"/>
          </p:nvPr>
        </p:nvSpPr>
        <p:spPr>
          <a:xfrm>
            <a:off x="934139" y="3357159"/>
            <a:ext cx="5855997" cy="360040"/>
          </a:xfrm>
          <a:prstGeom prst="rect">
            <a:avLst/>
          </a:prstGeom>
          <a:effectLst>
            <a:softEdge rad="0"/>
          </a:effectLst>
        </p:spPr>
        <p:txBody>
          <a:bodyPr lIns="0" rIns="0" anchor="t">
            <a:noAutofit/>
          </a:bodyPr>
          <a:lstStyle>
            <a:lvl1pPr marL="0" indent="0" algn="l">
              <a:buNone/>
              <a:defRPr sz="1650" b="0" baseline="0">
                <a:solidFill>
                  <a:schemeClr val="bg1"/>
                </a:solidFill>
                <a:latin typeface="+mn-lt"/>
                <a:ea typeface="Arial" panose="020B0604020202020204" pitchFamily="34" charset="0"/>
                <a:cs typeface="Arial" panose="020B0604020202020204" pitchFamily="34" charset="0"/>
              </a:defRPr>
            </a:lvl1pPr>
          </a:lstStyle>
          <a:p>
            <a:pPr lvl="0"/>
            <a:r>
              <a:rPr lang="da-DK" noProof="0" dirty="0"/>
              <a:t>Klik her for at tilføje en underoverskrift</a:t>
            </a:r>
          </a:p>
        </p:txBody>
      </p:sp>
      <p:sp>
        <p:nvSpPr>
          <p:cNvPr id="3" name="Footer Placeholder 8">
            <a:extLst>
              <a:ext uri="{FF2B5EF4-FFF2-40B4-BE49-F238E27FC236}">
                <a16:creationId xmlns:a16="http://schemas.microsoft.com/office/drawing/2014/main" id="{E13E58E8-2E7F-7620-3DDC-F8006A870B2E}"/>
              </a:ext>
            </a:extLst>
          </p:cNvPr>
          <p:cNvSpPr>
            <a:spLocks noGrp="1"/>
          </p:cNvSpPr>
          <p:nvPr>
            <p:ph type="ftr" sz="quarter" idx="17"/>
          </p:nvPr>
        </p:nvSpPr>
        <p:spPr>
          <a:xfrm>
            <a:off x="0" y="5143500"/>
            <a:ext cx="0" cy="0"/>
          </a:xfrm>
          <a:prstGeom prst="rect">
            <a:avLst/>
          </a:prstGeom>
        </p:spPr>
        <p:txBody>
          <a:bodyPr vert="horz" lIns="0" tIns="0" rIns="0" bIns="0" rtlCol="0" anchor="b" anchorCtr="0"/>
          <a:lstStyle>
            <a:defPPr>
              <a:defRPr lang="da-DK"/>
            </a:defPPr>
            <a:lvl1pPr marL="0" algn="l" defTabSz="685800" rtl="0" eaLnBrk="1" latinLnBrk="0" hangingPunct="1">
              <a:defRPr lang="da-DK"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4" name="Slide Number Placeholder 9">
            <a:extLst>
              <a:ext uri="{FF2B5EF4-FFF2-40B4-BE49-F238E27FC236}">
                <a16:creationId xmlns:a16="http://schemas.microsoft.com/office/drawing/2014/main" id="{C9E30C3B-9C05-C9A0-E21A-AA828CCF3E4D}"/>
              </a:ext>
            </a:extLst>
          </p:cNvPr>
          <p:cNvSpPr>
            <a:spLocks noGrp="1"/>
          </p:cNvSpPr>
          <p:nvPr>
            <p:ph type="sldNum" sz="quarter" idx="18"/>
          </p:nvPr>
        </p:nvSpPr>
        <p:spPr>
          <a:xfrm>
            <a:off x="0" y="5143500"/>
            <a:ext cx="0" cy="0"/>
          </a:xfrm>
          <a:prstGeom prst="rect">
            <a:avLst/>
          </a:prstGeom>
        </p:spPr>
        <p:txBody>
          <a:bodyPr vert="horz" lIns="0" tIns="0" rIns="0" bIns="0" rtlCol="0" anchor="b" anchorCtr="0"/>
          <a:lstStyle>
            <a:defPPr>
              <a:defRPr lang="da-DK"/>
            </a:defPPr>
            <a:lvl1pPr marL="0" algn="r" defTabSz="685800" rtl="0" eaLnBrk="1" latinLnBrk="0" hangingPunct="1">
              <a:defRPr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6" name="Freeform: Shape 5">
            <a:extLst>
              <a:ext uri="{FF2B5EF4-FFF2-40B4-BE49-F238E27FC236}">
                <a16:creationId xmlns:a16="http://schemas.microsoft.com/office/drawing/2014/main" id="{51725B6E-160F-7793-AAAC-43291020ED0F}"/>
              </a:ext>
            </a:extLst>
          </p:cNvPr>
          <p:cNvSpPr/>
          <p:nvPr userDrawn="1"/>
        </p:nvSpPr>
        <p:spPr>
          <a:xfrm>
            <a:off x="934641" y="778409"/>
            <a:ext cx="1141177" cy="1141201"/>
          </a:xfrm>
          <a:custGeom>
            <a:avLst/>
            <a:gdLst>
              <a:gd name="connsiteX0" fmla="*/ 908875 w 2920154"/>
              <a:gd name="connsiteY0" fmla="*/ 2064244 h 2920216"/>
              <a:gd name="connsiteX1" fmla="*/ 2053750 w 2920154"/>
              <a:gd name="connsiteY1" fmla="*/ 2064244 h 2920216"/>
              <a:gd name="connsiteX2" fmla="*/ 2053750 w 2920154"/>
              <a:gd name="connsiteY2" fmla="*/ 2078196 h 2920216"/>
              <a:gd name="connsiteX3" fmla="*/ 2053750 w 2920154"/>
              <a:gd name="connsiteY3" fmla="*/ 2122889 h 2920216"/>
              <a:gd name="connsiteX4" fmla="*/ 2053750 w 2920154"/>
              <a:gd name="connsiteY4" fmla="*/ 2136841 h 2920216"/>
              <a:gd name="connsiteX5" fmla="*/ 908875 w 2920154"/>
              <a:gd name="connsiteY5" fmla="*/ 2136841 h 2920216"/>
              <a:gd name="connsiteX6" fmla="*/ 908875 w 2920154"/>
              <a:gd name="connsiteY6" fmla="*/ 2136223 h 2920216"/>
              <a:gd name="connsiteX7" fmla="*/ 887639 w 2920154"/>
              <a:gd name="connsiteY7" fmla="*/ 2136223 h 2920216"/>
              <a:gd name="connsiteX8" fmla="*/ 887639 w 2920154"/>
              <a:gd name="connsiteY8" fmla="*/ 2077578 h 2920216"/>
              <a:gd name="connsiteX9" fmla="*/ 908875 w 2920154"/>
              <a:gd name="connsiteY9" fmla="*/ 2077578 h 2920216"/>
              <a:gd name="connsiteX10" fmla="*/ 908875 w 2920154"/>
              <a:gd name="connsiteY10" fmla="*/ 1965535 h 2920216"/>
              <a:gd name="connsiteX11" fmla="*/ 2053750 w 2920154"/>
              <a:gd name="connsiteY11" fmla="*/ 1965535 h 2920216"/>
              <a:gd name="connsiteX12" fmla="*/ 2053750 w 2920154"/>
              <a:gd name="connsiteY12" fmla="*/ 1979487 h 2920216"/>
              <a:gd name="connsiteX13" fmla="*/ 2053750 w 2920154"/>
              <a:gd name="connsiteY13" fmla="*/ 2024180 h 2920216"/>
              <a:gd name="connsiteX14" fmla="*/ 2053750 w 2920154"/>
              <a:gd name="connsiteY14" fmla="*/ 2038132 h 2920216"/>
              <a:gd name="connsiteX15" fmla="*/ 908875 w 2920154"/>
              <a:gd name="connsiteY15" fmla="*/ 2038132 h 2920216"/>
              <a:gd name="connsiteX16" fmla="*/ 908875 w 2920154"/>
              <a:gd name="connsiteY16" fmla="*/ 2037514 h 2920216"/>
              <a:gd name="connsiteX17" fmla="*/ 887639 w 2920154"/>
              <a:gd name="connsiteY17" fmla="*/ 2037514 h 2920216"/>
              <a:gd name="connsiteX18" fmla="*/ 887639 w 2920154"/>
              <a:gd name="connsiteY18" fmla="*/ 1978869 h 2920216"/>
              <a:gd name="connsiteX19" fmla="*/ 908875 w 2920154"/>
              <a:gd name="connsiteY19" fmla="*/ 1978869 h 2920216"/>
              <a:gd name="connsiteX20" fmla="*/ 908875 w 2920154"/>
              <a:gd name="connsiteY20" fmla="*/ 1866826 h 2920216"/>
              <a:gd name="connsiteX21" fmla="*/ 2053750 w 2920154"/>
              <a:gd name="connsiteY21" fmla="*/ 1866826 h 2920216"/>
              <a:gd name="connsiteX22" fmla="*/ 2053750 w 2920154"/>
              <a:gd name="connsiteY22" fmla="*/ 1880778 h 2920216"/>
              <a:gd name="connsiteX23" fmla="*/ 2053750 w 2920154"/>
              <a:gd name="connsiteY23" fmla="*/ 1925471 h 2920216"/>
              <a:gd name="connsiteX24" fmla="*/ 2053750 w 2920154"/>
              <a:gd name="connsiteY24" fmla="*/ 1939423 h 2920216"/>
              <a:gd name="connsiteX25" fmla="*/ 908875 w 2920154"/>
              <a:gd name="connsiteY25" fmla="*/ 1939423 h 2920216"/>
              <a:gd name="connsiteX26" fmla="*/ 908875 w 2920154"/>
              <a:gd name="connsiteY26" fmla="*/ 1938805 h 2920216"/>
              <a:gd name="connsiteX27" fmla="*/ 887639 w 2920154"/>
              <a:gd name="connsiteY27" fmla="*/ 1938805 h 2920216"/>
              <a:gd name="connsiteX28" fmla="*/ 887639 w 2920154"/>
              <a:gd name="connsiteY28" fmla="*/ 1880160 h 2920216"/>
              <a:gd name="connsiteX29" fmla="*/ 908875 w 2920154"/>
              <a:gd name="connsiteY29" fmla="*/ 1880160 h 2920216"/>
              <a:gd name="connsiteX30" fmla="*/ 1474198 w 2920154"/>
              <a:gd name="connsiteY30" fmla="*/ 954491 h 2920216"/>
              <a:gd name="connsiteX31" fmla="*/ 1440416 w 2920154"/>
              <a:gd name="connsiteY31" fmla="*/ 964842 h 2920216"/>
              <a:gd name="connsiteX32" fmla="*/ 1413811 w 2920154"/>
              <a:gd name="connsiteY32" fmla="*/ 997197 h 2920216"/>
              <a:gd name="connsiteX33" fmla="*/ 1409446 w 2920154"/>
              <a:gd name="connsiteY33" fmla="*/ 1018819 h 2920216"/>
              <a:gd name="connsiteX34" fmla="*/ 1413811 w 2920154"/>
              <a:gd name="connsiteY34" fmla="*/ 1040441 h 2920216"/>
              <a:gd name="connsiteX35" fmla="*/ 1481436 w 2920154"/>
              <a:gd name="connsiteY35" fmla="*/ 1085365 h 2920216"/>
              <a:gd name="connsiteX36" fmla="*/ 1513081 w 2920154"/>
              <a:gd name="connsiteY36" fmla="*/ 1075668 h 2920216"/>
              <a:gd name="connsiteX37" fmla="*/ 1527824 w 2920154"/>
              <a:gd name="connsiteY37" fmla="*/ 1053775 h 2920216"/>
              <a:gd name="connsiteX38" fmla="*/ 1533598 w 2920154"/>
              <a:gd name="connsiteY38" fmla="*/ 1025177 h 2920216"/>
              <a:gd name="connsiteX39" fmla="*/ 1488753 w 2920154"/>
              <a:gd name="connsiteY39" fmla="*/ 957439 h 2920216"/>
              <a:gd name="connsiteX40" fmla="*/ 1481312 w 2920154"/>
              <a:gd name="connsiteY40" fmla="*/ 780843 h 2920216"/>
              <a:gd name="connsiteX41" fmla="*/ 1510573 w 2920154"/>
              <a:gd name="connsiteY41" fmla="*/ 810166 h 2920216"/>
              <a:gd name="connsiteX42" fmla="*/ 1510573 w 2920154"/>
              <a:gd name="connsiteY42" fmla="*/ 824118 h 2920216"/>
              <a:gd name="connsiteX43" fmla="*/ 1510573 w 2920154"/>
              <a:gd name="connsiteY43" fmla="*/ 887083 h 2920216"/>
              <a:gd name="connsiteX44" fmla="*/ 1608541 w 2920154"/>
              <a:gd name="connsiteY44" fmla="*/ 1020115 h 2920216"/>
              <a:gd name="connsiteX45" fmla="*/ 1790649 w 2920154"/>
              <a:gd name="connsiteY45" fmla="*/ 977829 h 2920216"/>
              <a:gd name="connsiteX46" fmla="*/ 2071528 w 2920154"/>
              <a:gd name="connsiteY46" fmla="*/ 1178395 h 2920216"/>
              <a:gd name="connsiteX47" fmla="*/ 2071590 w 2920154"/>
              <a:gd name="connsiteY47" fmla="*/ 1178395 h 2920216"/>
              <a:gd name="connsiteX48" fmla="*/ 2275490 w 2920154"/>
              <a:gd name="connsiteY48" fmla="*/ 1420012 h 2920216"/>
              <a:gd name="connsiteX49" fmla="*/ 2274628 w 2920154"/>
              <a:gd name="connsiteY49" fmla="*/ 1424789 h 2920216"/>
              <a:gd name="connsiteX50" fmla="*/ 2275490 w 2920154"/>
              <a:gd name="connsiteY50" fmla="*/ 1433965 h 2920216"/>
              <a:gd name="connsiteX51" fmla="*/ 2050108 w 2920154"/>
              <a:gd name="connsiteY51" fmla="*/ 1814355 h 2920216"/>
              <a:gd name="connsiteX52" fmla="*/ 2048749 w 2920154"/>
              <a:gd name="connsiteY52" fmla="*/ 1815960 h 2920216"/>
              <a:gd name="connsiteX53" fmla="*/ 1971029 w 2920154"/>
              <a:gd name="connsiteY53" fmla="*/ 1815960 h 2920216"/>
              <a:gd name="connsiteX54" fmla="*/ 1971583 w 2920154"/>
              <a:gd name="connsiteY54" fmla="*/ 1815342 h 2920216"/>
              <a:gd name="connsiteX55" fmla="*/ 1949855 w 2920154"/>
              <a:gd name="connsiteY55" fmla="*/ 1815342 h 2920216"/>
              <a:gd name="connsiteX56" fmla="*/ 1956769 w 2920154"/>
              <a:gd name="connsiteY56" fmla="*/ 1807626 h 2920216"/>
              <a:gd name="connsiteX57" fmla="*/ 2113382 w 2920154"/>
              <a:gd name="connsiteY57" fmla="*/ 1608541 h 2920216"/>
              <a:gd name="connsiteX58" fmla="*/ 2195917 w 2920154"/>
              <a:gd name="connsiteY58" fmla="*/ 1430384 h 2920216"/>
              <a:gd name="connsiteX59" fmla="*/ 2158323 w 2920154"/>
              <a:gd name="connsiteY59" fmla="*/ 1296179 h 2920216"/>
              <a:gd name="connsiteX60" fmla="*/ 2115859 w 2920154"/>
              <a:gd name="connsiteY60" fmla="*/ 1267289 h 2920216"/>
              <a:gd name="connsiteX61" fmla="*/ 2076786 w 2920154"/>
              <a:gd name="connsiteY61" fmla="*/ 1256831 h 2920216"/>
              <a:gd name="connsiteX62" fmla="*/ 2076220 w 2920154"/>
              <a:gd name="connsiteY62" fmla="*/ 1288648 h 2920216"/>
              <a:gd name="connsiteX63" fmla="*/ 1997142 w 2920154"/>
              <a:gd name="connsiteY63" fmla="*/ 1502857 h 2920216"/>
              <a:gd name="connsiteX64" fmla="*/ 1788674 w 2920154"/>
              <a:gd name="connsiteY64" fmla="*/ 1814170 h 2920216"/>
              <a:gd name="connsiteX65" fmla="*/ 1787254 w 2920154"/>
              <a:gd name="connsiteY65" fmla="*/ 1815960 h 2920216"/>
              <a:gd name="connsiteX66" fmla="*/ 1713114 w 2920154"/>
              <a:gd name="connsiteY66" fmla="*/ 1815960 h 2920216"/>
              <a:gd name="connsiteX67" fmla="*/ 1713616 w 2920154"/>
              <a:gd name="connsiteY67" fmla="*/ 1815342 h 2920216"/>
              <a:gd name="connsiteX68" fmla="*/ 1691940 w 2920154"/>
              <a:gd name="connsiteY68" fmla="*/ 1815342 h 2920216"/>
              <a:gd name="connsiteX69" fmla="*/ 1698052 w 2920154"/>
              <a:gd name="connsiteY69" fmla="*/ 1807811 h 2920216"/>
              <a:gd name="connsiteX70" fmla="*/ 1996462 w 2920154"/>
              <a:gd name="connsiteY70" fmla="*/ 1283956 h 2920216"/>
              <a:gd name="connsiteX71" fmla="*/ 1955534 w 2920154"/>
              <a:gd name="connsiteY71" fmla="*/ 1118454 h 2920216"/>
              <a:gd name="connsiteX72" fmla="*/ 1828991 w 2920154"/>
              <a:gd name="connsiteY72" fmla="*/ 1054127 h 2920216"/>
              <a:gd name="connsiteX73" fmla="*/ 1784872 w 2920154"/>
              <a:gd name="connsiteY73" fmla="*/ 1050922 h 2920216"/>
              <a:gd name="connsiteX74" fmla="*/ 1733424 w 2920154"/>
              <a:gd name="connsiteY74" fmla="*/ 1055248 h 2920216"/>
              <a:gd name="connsiteX75" fmla="*/ 1510696 w 2920154"/>
              <a:gd name="connsiteY75" fmla="*/ 1175247 h 2920216"/>
              <a:gd name="connsiteX76" fmla="*/ 1510696 w 2920154"/>
              <a:gd name="connsiteY76" fmla="*/ 1802070 h 2920216"/>
              <a:gd name="connsiteX77" fmla="*/ 1510696 w 2920154"/>
              <a:gd name="connsiteY77" fmla="*/ 1816022 h 2920216"/>
              <a:gd name="connsiteX78" fmla="*/ 1452113 w 2920154"/>
              <a:gd name="connsiteY78" fmla="*/ 1816022 h 2920216"/>
              <a:gd name="connsiteX79" fmla="*/ 1452113 w 2920154"/>
              <a:gd name="connsiteY79" fmla="*/ 1815404 h 2920216"/>
              <a:gd name="connsiteX80" fmla="*/ 1430877 w 2920154"/>
              <a:gd name="connsiteY80" fmla="*/ 1815404 h 2920216"/>
              <a:gd name="connsiteX81" fmla="*/ 1430877 w 2920154"/>
              <a:gd name="connsiteY81" fmla="*/ 1174629 h 2920216"/>
              <a:gd name="connsiteX82" fmla="*/ 1208150 w 2920154"/>
              <a:gd name="connsiteY82" fmla="*/ 1054630 h 2920216"/>
              <a:gd name="connsiteX83" fmla="*/ 1164594 w 2920154"/>
              <a:gd name="connsiteY83" fmla="*/ 1050968 h 2920216"/>
              <a:gd name="connsiteX84" fmla="*/ 1112547 w 2920154"/>
              <a:gd name="connsiteY84" fmla="*/ 1054755 h 2920216"/>
              <a:gd name="connsiteX85" fmla="*/ 985977 w 2920154"/>
              <a:gd name="connsiteY85" fmla="*/ 1119133 h 2920216"/>
              <a:gd name="connsiteX86" fmla="*/ 943984 w 2920154"/>
              <a:gd name="connsiteY86" fmla="*/ 1225350 h 2920216"/>
              <a:gd name="connsiteX87" fmla="*/ 943405 w 2920154"/>
              <a:gd name="connsiteY87" fmla="*/ 1254778 h 2920216"/>
              <a:gd name="connsiteX88" fmla="*/ 944286 w 2920154"/>
              <a:gd name="connsiteY88" fmla="*/ 1264777 h 2920216"/>
              <a:gd name="connsiteX89" fmla="*/ 945049 w 2920154"/>
              <a:gd name="connsiteY89" fmla="*/ 1270252 h 2920216"/>
              <a:gd name="connsiteX90" fmla="*/ 1243522 w 2920154"/>
              <a:gd name="connsiteY90" fmla="*/ 1794477 h 2920216"/>
              <a:gd name="connsiteX91" fmla="*/ 1249633 w 2920154"/>
              <a:gd name="connsiteY91" fmla="*/ 1802008 h 2920216"/>
              <a:gd name="connsiteX92" fmla="*/ 1238401 w 2920154"/>
              <a:gd name="connsiteY92" fmla="*/ 1802008 h 2920216"/>
              <a:gd name="connsiteX93" fmla="*/ 1239906 w 2920154"/>
              <a:gd name="connsiteY93" fmla="*/ 1803914 h 2920216"/>
              <a:gd name="connsiteX94" fmla="*/ 1243522 w 2920154"/>
              <a:gd name="connsiteY94" fmla="*/ 1808429 h 2920216"/>
              <a:gd name="connsiteX95" fmla="*/ 1249633 w 2920154"/>
              <a:gd name="connsiteY95" fmla="*/ 1815960 h 2920216"/>
              <a:gd name="connsiteX96" fmla="*/ 1175493 w 2920154"/>
              <a:gd name="connsiteY96" fmla="*/ 1815960 h 2920216"/>
              <a:gd name="connsiteX97" fmla="*/ 1175003 w 2920154"/>
              <a:gd name="connsiteY97" fmla="*/ 1815342 h 2920216"/>
              <a:gd name="connsiteX98" fmla="*/ 1154257 w 2920154"/>
              <a:gd name="connsiteY98" fmla="*/ 1815342 h 2920216"/>
              <a:gd name="connsiteX99" fmla="*/ 1152838 w 2920154"/>
              <a:gd name="connsiteY99" fmla="*/ 1813552 h 2920216"/>
              <a:gd name="connsiteX100" fmla="*/ 944308 w 2920154"/>
              <a:gd name="connsiteY100" fmla="*/ 1502239 h 2920216"/>
              <a:gd name="connsiteX101" fmla="*/ 865292 w 2920154"/>
              <a:gd name="connsiteY101" fmla="*/ 1288031 h 2920216"/>
              <a:gd name="connsiteX102" fmla="*/ 864746 w 2920154"/>
              <a:gd name="connsiteY102" fmla="*/ 1257454 h 2920216"/>
              <a:gd name="connsiteX103" fmla="*/ 825660 w 2920154"/>
              <a:gd name="connsiteY103" fmla="*/ 1267907 h 2920216"/>
              <a:gd name="connsiteX104" fmla="*/ 783189 w 2920154"/>
              <a:gd name="connsiteY104" fmla="*/ 1296797 h 2920216"/>
              <a:gd name="connsiteX105" fmla="*/ 752848 w 2920154"/>
              <a:gd name="connsiteY105" fmla="*/ 1352556 h 2920216"/>
              <a:gd name="connsiteX106" fmla="*/ 746521 w 2920154"/>
              <a:gd name="connsiteY106" fmla="*/ 1421575 h 2920216"/>
              <a:gd name="connsiteX107" fmla="*/ 752032 w 2920154"/>
              <a:gd name="connsiteY107" fmla="*/ 1450442 h 2920216"/>
              <a:gd name="connsiteX108" fmla="*/ 828129 w 2920154"/>
              <a:gd name="connsiteY108" fmla="*/ 1595207 h 2920216"/>
              <a:gd name="connsiteX109" fmla="*/ 984743 w 2920154"/>
              <a:gd name="connsiteY109" fmla="*/ 1794291 h 2920216"/>
              <a:gd name="connsiteX110" fmla="*/ 991657 w 2920154"/>
              <a:gd name="connsiteY110" fmla="*/ 1802008 h 2920216"/>
              <a:gd name="connsiteX111" fmla="*/ 979507 w 2920154"/>
              <a:gd name="connsiteY111" fmla="*/ 1802008 h 2920216"/>
              <a:gd name="connsiteX112" fmla="*/ 984743 w 2920154"/>
              <a:gd name="connsiteY112" fmla="*/ 1808244 h 2920216"/>
              <a:gd name="connsiteX113" fmla="*/ 991657 w 2920154"/>
              <a:gd name="connsiteY113" fmla="*/ 1815960 h 2920216"/>
              <a:gd name="connsiteX114" fmla="*/ 913937 w 2920154"/>
              <a:gd name="connsiteY114" fmla="*/ 1815960 h 2920216"/>
              <a:gd name="connsiteX115" fmla="*/ 913414 w 2920154"/>
              <a:gd name="connsiteY115" fmla="*/ 1815342 h 2920216"/>
              <a:gd name="connsiteX116" fmla="*/ 892701 w 2920154"/>
              <a:gd name="connsiteY116" fmla="*/ 1815342 h 2920216"/>
              <a:gd name="connsiteX117" fmla="*/ 891342 w 2920154"/>
              <a:gd name="connsiteY117" fmla="*/ 1813737 h 2920216"/>
              <a:gd name="connsiteX118" fmla="*/ 665960 w 2920154"/>
              <a:gd name="connsiteY118" fmla="*/ 1433347 h 2920216"/>
              <a:gd name="connsiteX119" fmla="*/ 777659 w 2920154"/>
              <a:gd name="connsiteY119" fmla="*/ 1215575 h 2920216"/>
              <a:gd name="connsiteX120" fmla="*/ 782871 w 2920154"/>
              <a:gd name="connsiteY120" fmla="*/ 1214227 h 2920216"/>
              <a:gd name="connsiteX121" fmla="*/ 798895 w 2920154"/>
              <a:gd name="connsiteY121" fmla="*/ 1202240 h 2920216"/>
              <a:gd name="connsiteX122" fmla="*/ 871960 w 2920154"/>
              <a:gd name="connsiteY122" fmla="*/ 1183344 h 2920216"/>
              <a:gd name="connsiteX123" fmla="*/ 881182 w 2920154"/>
              <a:gd name="connsiteY123" fmla="*/ 1146514 h 2920216"/>
              <a:gd name="connsiteX124" fmla="*/ 958330 w 2920154"/>
              <a:gd name="connsiteY124" fmla="*/ 1043673 h 2920216"/>
              <a:gd name="connsiteX125" fmla="*/ 973769 w 2920154"/>
              <a:gd name="connsiteY125" fmla="*/ 1036532 h 2920216"/>
              <a:gd name="connsiteX126" fmla="*/ 979565 w 2920154"/>
              <a:gd name="connsiteY126" fmla="*/ 1030285 h 2920216"/>
              <a:gd name="connsiteX127" fmla="*/ 1171975 w 2920154"/>
              <a:gd name="connsiteY127" fmla="*/ 977829 h 2920216"/>
              <a:gd name="connsiteX128" fmla="*/ 1263909 w 2920154"/>
              <a:gd name="connsiteY128" fmla="*/ 988439 h 2920216"/>
              <a:gd name="connsiteX129" fmla="*/ 1334979 w 2920154"/>
              <a:gd name="connsiteY129" fmla="*/ 1013404 h 2920216"/>
              <a:gd name="connsiteX130" fmla="*/ 1337911 w 2920154"/>
              <a:gd name="connsiteY130" fmla="*/ 985744 h 2920216"/>
              <a:gd name="connsiteX131" fmla="*/ 1391583 w 2920154"/>
              <a:gd name="connsiteY131" fmla="*/ 917133 h 2920216"/>
              <a:gd name="connsiteX132" fmla="*/ 1403456 w 2920154"/>
              <a:gd name="connsiteY132" fmla="*/ 912093 h 2920216"/>
              <a:gd name="connsiteX133" fmla="*/ 1412819 w 2920154"/>
              <a:gd name="connsiteY133" fmla="*/ 903711 h 2920216"/>
              <a:gd name="connsiteX134" fmla="*/ 1430815 w 2920154"/>
              <a:gd name="connsiteY134" fmla="*/ 896084 h 2920216"/>
              <a:gd name="connsiteX135" fmla="*/ 1430815 w 2920154"/>
              <a:gd name="connsiteY135" fmla="*/ 823562 h 2920216"/>
              <a:gd name="connsiteX136" fmla="*/ 1439404 w 2920154"/>
              <a:gd name="connsiteY136" fmla="*/ 802835 h 2920216"/>
              <a:gd name="connsiteX137" fmla="*/ 1458354 w 2920154"/>
              <a:gd name="connsiteY137" fmla="*/ 794955 h 2920216"/>
              <a:gd name="connsiteX138" fmla="*/ 1460640 w 2920154"/>
              <a:gd name="connsiteY138" fmla="*/ 789439 h 2920216"/>
              <a:gd name="connsiteX139" fmla="*/ 1481312 w 2920154"/>
              <a:gd name="connsiteY139" fmla="*/ 780843 h 2920216"/>
              <a:gd name="connsiteX140" fmla="*/ 1555329 w 2920154"/>
              <a:gd name="connsiteY140" fmla="*/ 706642 h 2920216"/>
              <a:gd name="connsiteX141" fmla="*/ 1654161 w 2920154"/>
              <a:gd name="connsiteY141" fmla="*/ 706642 h 2920216"/>
              <a:gd name="connsiteX142" fmla="*/ 1683483 w 2920154"/>
              <a:gd name="connsiteY142" fmla="*/ 735965 h 2920216"/>
              <a:gd name="connsiteX143" fmla="*/ 1680590 w 2920154"/>
              <a:gd name="connsiteY143" fmla="*/ 742940 h 2920216"/>
              <a:gd name="connsiteX144" fmla="*/ 1683483 w 2920154"/>
              <a:gd name="connsiteY144" fmla="*/ 749915 h 2920216"/>
              <a:gd name="connsiteX145" fmla="*/ 1654161 w 2920154"/>
              <a:gd name="connsiteY145" fmla="*/ 779238 h 2920216"/>
              <a:gd name="connsiteX146" fmla="*/ 1555329 w 2920154"/>
              <a:gd name="connsiteY146" fmla="*/ 779238 h 2920216"/>
              <a:gd name="connsiteX147" fmla="*/ 1553841 w 2920154"/>
              <a:gd name="connsiteY147" fmla="*/ 778621 h 2920216"/>
              <a:gd name="connsiteX148" fmla="*/ 1534093 w 2920154"/>
              <a:gd name="connsiteY148" fmla="*/ 778621 h 2920216"/>
              <a:gd name="connsiteX149" fmla="*/ 1504770 w 2920154"/>
              <a:gd name="connsiteY149" fmla="*/ 749299 h 2920216"/>
              <a:gd name="connsiteX150" fmla="*/ 1513366 w 2920154"/>
              <a:gd name="connsiteY150" fmla="*/ 728572 h 2920216"/>
              <a:gd name="connsiteX151" fmla="*/ 1532335 w 2920154"/>
              <a:gd name="connsiteY151" fmla="*/ 720705 h 2920216"/>
              <a:gd name="connsiteX152" fmla="*/ 1534602 w 2920154"/>
              <a:gd name="connsiteY152" fmla="*/ 715238 h 2920216"/>
              <a:gd name="connsiteX153" fmla="*/ 1555329 w 2920154"/>
              <a:gd name="connsiteY153" fmla="*/ 706642 h 2920216"/>
              <a:gd name="connsiteX154" fmla="*/ 1308526 w 2920154"/>
              <a:gd name="connsiteY154" fmla="*/ 706642 h 2920216"/>
              <a:gd name="connsiteX155" fmla="*/ 1407358 w 2920154"/>
              <a:gd name="connsiteY155" fmla="*/ 706642 h 2920216"/>
              <a:gd name="connsiteX156" fmla="*/ 1436680 w 2920154"/>
              <a:gd name="connsiteY156" fmla="*/ 735965 h 2920216"/>
              <a:gd name="connsiteX157" fmla="*/ 1433787 w 2920154"/>
              <a:gd name="connsiteY157" fmla="*/ 742940 h 2920216"/>
              <a:gd name="connsiteX158" fmla="*/ 1436680 w 2920154"/>
              <a:gd name="connsiteY158" fmla="*/ 749915 h 2920216"/>
              <a:gd name="connsiteX159" fmla="*/ 1407358 w 2920154"/>
              <a:gd name="connsiteY159" fmla="*/ 779238 h 2920216"/>
              <a:gd name="connsiteX160" fmla="*/ 1308526 w 2920154"/>
              <a:gd name="connsiteY160" fmla="*/ 779238 h 2920216"/>
              <a:gd name="connsiteX161" fmla="*/ 1307039 w 2920154"/>
              <a:gd name="connsiteY161" fmla="*/ 778621 h 2920216"/>
              <a:gd name="connsiteX162" fmla="*/ 1287290 w 2920154"/>
              <a:gd name="connsiteY162" fmla="*/ 778621 h 2920216"/>
              <a:gd name="connsiteX163" fmla="*/ 1257967 w 2920154"/>
              <a:gd name="connsiteY163" fmla="*/ 749299 h 2920216"/>
              <a:gd name="connsiteX164" fmla="*/ 1266563 w 2920154"/>
              <a:gd name="connsiteY164" fmla="*/ 728572 h 2920216"/>
              <a:gd name="connsiteX165" fmla="*/ 1285532 w 2920154"/>
              <a:gd name="connsiteY165" fmla="*/ 720705 h 2920216"/>
              <a:gd name="connsiteX166" fmla="*/ 1287799 w 2920154"/>
              <a:gd name="connsiteY166" fmla="*/ 715238 h 2920216"/>
              <a:gd name="connsiteX167" fmla="*/ 1308526 w 2920154"/>
              <a:gd name="connsiteY167" fmla="*/ 706642 h 2920216"/>
              <a:gd name="connsiteX168" fmla="*/ 1481313 w 2920154"/>
              <a:gd name="connsiteY168" fmla="*/ 533608 h 2920216"/>
              <a:gd name="connsiteX169" fmla="*/ 1510635 w 2920154"/>
              <a:gd name="connsiteY169" fmla="*/ 562931 h 2920216"/>
              <a:gd name="connsiteX170" fmla="*/ 1510635 w 2920154"/>
              <a:gd name="connsiteY170" fmla="*/ 576882 h 2920216"/>
              <a:gd name="connsiteX171" fmla="*/ 1510635 w 2920154"/>
              <a:gd name="connsiteY171" fmla="*/ 661639 h 2920216"/>
              <a:gd name="connsiteX172" fmla="*/ 1510635 w 2920154"/>
              <a:gd name="connsiteY172" fmla="*/ 675590 h 2920216"/>
              <a:gd name="connsiteX173" fmla="*/ 1481313 w 2920154"/>
              <a:gd name="connsiteY173" fmla="*/ 704913 h 2920216"/>
              <a:gd name="connsiteX174" fmla="*/ 1469951 w 2920154"/>
              <a:gd name="connsiteY174" fmla="*/ 700201 h 2920216"/>
              <a:gd name="connsiteX175" fmla="*/ 1460077 w 2920154"/>
              <a:gd name="connsiteY175" fmla="*/ 704296 h 2920216"/>
              <a:gd name="connsiteX176" fmla="*/ 1430754 w 2920154"/>
              <a:gd name="connsiteY176" fmla="*/ 674973 h 2920216"/>
              <a:gd name="connsiteX177" fmla="*/ 1430754 w 2920154"/>
              <a:gd name="connsiteY177" fmla="*/ 576265 h 2920216"/>
              <a:gd name="connsiteX178" fmla="*/ 1439350 w 2920154"/>
              <a:gd name="connsiteY178" fmla="*/ 555538 h 2920216"/>
              <a:gd name="connsiteX179" fmla="*/ 1458319 w 2920154"/>
              <a:gd name="connsiteY179" fmla="*/ 547671 h 2920216"/>
              <a:gd name="connsiteX180" fmla="*/ 1460586 w 2920154"/>
              <a:gd name="connsiteY180" fmla="*/ 542204 h 2920216"/>
              <a:gd name="connsiteX181" fmla="*/ 1481313 w 2920154"/>
              <a:gd name="connsiteY181" fmla="*/ 533608 h 2920216"/>
              <a:gd name="connsiteX182" fmla="*/ 1460077 w 2920154"/>
              <a:gd name="connsiteY182" fmla="*/ 74078 h 2920216"/>
              <a:gd name="connsiteX183" fmla="*/ 480025 w 2920154"/>
              <a:gd name="connsiteY183" fmla="*/ 480025 h 2920216"/>
              <a:gd name="connsiteX184" fmla="*/ 74078 w 2920154"/>
              <a:gd name="connsiteY184" fmla="*/ 1460139 h 2920216"/>
              <a:gd name="connsiteX185" fmla="*/ 480025 w 2920154"/>
              <a:gd name="connsiteY185" fmla="*/ 2440190 h 2920216"/>
              <a:gd name="connsiteX186" fmla="*/ 1460077 w 2920154"/>
              <a:gd name="connsiteY186" fmla="*/ 2846138 h 2920216"/>
              <a:gd name="connsiteX187" fmla="*/ 2440129 w 2920154"/>
              <a:gd name="connsiteY187" fmla="*/ 2440190 h 2920216"/>
              <a:gd name="connsiteX188" fmla="*/ 2846076 w 2920154"/>
              <a:gd name="connsiteY188" fmla="*/ 1460139 h 2920216"/>
              <a:gd name="connsiteX189" fmla="*/ 2440129 w 2920154"/>
              <a:gd name="connsiteY189" fmla="*/ 480087 h 2920216"/>
              <a:gd name="connsiteX190" fmla="*/ 1460077 w 2920154"/>
              <a:gd name="connsiteY190" fmla="*/ 74078 h 2920216"/>
              <a:gd name="connsiteX191" fmla="*/ 1460077 w 2920154"/>
              <a:gd name="connsiteY191" fmla="*/ 0 h 2920216"/>
              <a:gd name="connsiteX192" fmla="*/ 2492477 w 2920154"/>
              <a:gd name="connsiteY192" fmla="*/ 427677 h 2920216"/>
              <a:gd name="connsiteX193" fmla="*/ 2920154 w 2920154"/>
              <a:gd name="connsiteY193" fmla="*/ 1460139 h 2920216"/>
              <a:gd name="connsiteX194" fmla="*/ 2492477 w 2920154"/>
              <a:gd name="connsiteY194" fmla="*/ 2492601 h 2920216"/>
              <a:gd name="connsiteX195" fmla="*/ 1460077 w 2920154"/>
              <a:gd name="connsiteY195" fmla="*/ 2920216 h 2920216"/>
              <a:gd name="connsiteX196" fmla="*/ 1460077 w 2920154"/>
              <a:gd name="connsiteY196" fmla="*/ 2920154 h 2920216"/>
              <a:gd name="connsiteX197" fmla="*/ 427615 w 2920154"/>
              <a:gd name="connsiteY197" fmla="*/ 2492539 h 2920216"/>
              <a:gd name="connsiteX198" fmla="*/ 0 w 2920154"/>
              <a:gd name="connsiteY198" fmla="*/ 1460139 h 2920216"/>
              <a:gd name="connsiteX199" fmla="*/ 427677 w 2920154"/>
              <a:gd name="connsiteY199" fmla="*/ 427677 h 2920216"/>
              <a:gd name="connsiteX200" fmla="*/ 1460077 w 2920154"/>
              <a:gd name="connsiteY200" fmla="*/ 0 h 292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920154" h="2920216">
                <a:moveTo>
                  <a:pt x="908875" y="2064244"/>
                </a:moveTo>
                <a:lnTo>
                  <a:pt x="2053750" y="2064244"/>
                </a:lnTo>
                <a:lnTo>
                  <a:pt x="2053750" y="2078196"/>
                </a:lnTo>
                <a:lnTo>
                  <a:pt x="2053750" y="2122889"/>
                </a:lnTo>
                <a:lnTo>
                  <a:pt x="2053750" y="2136841"/>
                </a:lnTo>
                <a:lnTo>
                  <a:pt x="908875" y="2136841"/>
                </a:lnTo>
                <a:lnTo>
                  <a:pt x="908875" y="2136223"/>
                </a:lnTo>
                <a:lnTo>
                  <a:pt x="887639" y="2136223"/>
                </a:lnTo>
                <a:lnTo>
                  <a:pt x="887639" y="2077578"/>
                </a:lnTo>
                <a:lnTo>
                  <a:pt x="908875" y="2077578"/>
                </a:lnTo>
                <a:close/>
                <a:moveTo>
                  <a:pt x="908875" y="1965535"/>
                </a:moveTo>
                <a:lnTo>
                  <a:pt x="2053750" y="1965535"/>
                </a:lnTo>
                <a:lnTo>
                  <a:pt x="2053750" y="1979487"/>
                </a:lnTo>
                <a:lnTo>
                  <a:pt x="2053750" y="2024180"/>
                </a:lnTo>
                <a:lnTo>
                  <a:pt x="2053750" y="2038132"/>
                </a:lnTo>
                <a:lnTo>
                  <a:pt x="908875" y="2038132"/>
                </a:lnTo>
                <a:lnTo>
                  <a:pt x="908875" y="2037514"/>
                </a:lnTo>
                <a:lnTo>
                  <a:pt x="887639" y="2037514"/>
                </a:lnTo>
                <a:lnTo>
                  <a:pt x="887639" y="1978869"/>
                </a:lnTo>
                <a:lnTo>
                  <a:pt x="908875" y="1978869"/>
                </a:lnTo>
                <a:close/>
                <a:moveTo>
                  <a:pt x="908875" y="1866826"/>
                </a:moveTo>
                <a:lnTo>
                  <a:pt x="2053750" y="1866826"/>
                </a:lnTo>
                <a:lnTo>
                  <a:pt x="2053750" y="1880778"/>
                </a:lnTo>
                <a:lnTo>
                  <a:pt x="2053750" y="1925471"/>
                </a:lnTo>
                <a:lnTo>
                  <a:pt x="2053750" y="1939423"/>
                </a:lnTo>
                <a:lnTo>
                  <a:pt x="908875" y="1939423"/>
                </a:lnTo>
                <a:lnTo>
                  <a:pt x="908875" y="1938805"/>
                </a:lnTo>
                <a:lnTo>
                  <a:pt x="887639" y="1938805"/>
                </a:lnTo>
                <a:lnTo>
                  <a:pt x="887639" y="1880160"/>
                </a:lnTo>
                <a:lnTo>
                  <a:pt x="908875" y="1880160"/>
                </a:lnTo>
                <a:close/>
                <a:moveTo>
                  <a:pt x="1474198" y="954491"/>
                </a:moveTo>
                <a:lnTo>
                  <a:pt x="1440416" y="964842"/>
                </a:lnTo>
                <a:cubicBezTo>
                  <a:pt x="1428701" y="972775"/>
                  <a:pt x="1419387" y="984006"/>
                  <a:pt x="1413811" y="997197"/>
                </a:cubicBezTo>
                <a:lnTo>
                  <a:pt x="1409446" y="1018819"/>
                </a:lnTo>
                <a:lnTo>
                  <a:pt x="1413811" y="1040441"/>
                </a:lnTo>
                <a:cubicBezTo>
                  <a:pt x="1424963" y="1066822"/>
                  <a:pt x="1451064" y="1085365"/>
                  <a:pt x="1481436" y="1085365"/>
                </a:cubicBezTo>
                <a:lnTo>
                  <a:pt x="1513081" y="1075668"/>
                </a:lnTo>
                <a:lnTo>
                  <a:pt x="1527824" y="1053775"/>
                </a:lnTo>
                <a:cubicBezTo>
                  <a:pt x="1531542" y="1044981"/>
                  <a:pt x="1533598" y="1035316"/>
                  <a:pt x="1533598" y="1025177"/>
                </a:cubicBezTo>
                <a:cubicBezTo>
                  <a:pt x="1533598" y="994758"/>
                  <a:pt x="1515091" y="968612"/>
                  <a:pt x="1488753" y="957439"/>
                </a:cubicBezTo>
                <a:close/>
                <a:moveTo>
                  <a:pt x="1481312" y="780843"/>
                </a:moveTo>
                <a:cubicBezTo>
                  <a:pt x="1497424" y="780843"/>
                  <a:pt x="1510573" y="793992"/>
                  <a:pt x="1510573" y="810166"/>
                </a:cubicBezTo>
                <a:lnTo>
                  <a:pt x="1510573" y="824118"/>
                </a:lnTo>
                <a:lnTo>
                  <a:pt x="1510573" y="887083"/>
                </a:lnTo>
                <a:cubicBezTo>
                  <a:pt x="1565267" y="900047"/>
                  <a:pt x="1614591" y="951901"/>
                  <a:pt x="1608541" y="1020115"/>
                </a:cubicBezTo>
                <a:cubicBezTo>
                  <a:pt x="1667803" y="992027"/>
                  <a:pt x="1729041" y="977829"/>
                  <a:pt x="1790649" y="977829"/>
                </a:cubicBezTo>
                <a:cubicBezTo>
                  <a:pt x="1949300" y="977829"/>
                  <a:pt x="2051466" y="1050919"/>
                  <a:pt x="2071528" y="1178395"/>
                </a:cubicBezTo>
                <a:lnTo>
                  <a:pt x="2071590" y="1178395"/>
                </a:lnTo>
                <a:cubicBezTo>
                  <a:pt x="2212215" y="1193210"/>
                  <a:pt x="2282712" y="1276672"/>
                  <a:pt x="2275490" y="1420012"/>
                </a:cubicBezTo>
                <a:lnTo>
                  <a:pt x="2274628" y="1424789"/>
                </a:lnTo>
                <a:lnTo>
                  <a:pt x="2275490" y="1433965"/>
                </a:lnTo>
                <a:cubicBezTo>
                  <a:pt x="2269996" y="1543168"/>
                  <a:pt x="2131902" y="1719165"/>
                  <a:pt x="2050108" y="1814355"/>
                </a:cubicBezTo>
                <a:lnTo>
                  <a:pt x="2048749" y="1815960"/>
                </a:lnTo>
                <a:lnTo>
                  <a:pt x="1971029" y="1815960"/>
                </a:lnTo>
                <a:lnTo>
                  <a:pt x="1971583" y="1815342"/>
                </a:lnTo>
                <a:lnTo>
                  <a:pt x="1949855" y="1815342"/>
                </a:lnTo>
                <a:lnTo>
                  <a:pt x="1956769" y="1807626"/>
                </a:lnTo>
                <a:cubicBezTo>
                  <a:pt x="2014920" y="1742807"/>
                  <a:pt x="2072022" y="1670211"/>
                  <a:pt x="2113382" y="1608541"/>
                </a:cubicBezTo>
                <a:cubicBezTo>
                  <a:pt x="2165422" y="1531006"/>
                  <a:pt x="2193942" y="1469398"/>
                  <a:pt x="2195917" y="1430384"/>
                </a:cubicBezTo>
                <a:cubicBezTo>
                  <a:pt x="2198881" y="1370751"/>
                  <a:pt x="2186225" y="1325563"/>
                  <a:pt x="2158323" y="1296179"/>
                </a:cubicBezTo>
                <a:cubicBezTo>
                  <a:pt x="2147211" y="1284450"/>
                  <a:pt x="2133013" y="1274804"/>
                  <a:pt x="2115859" y="1267289"/>
                </a:cubicBezTo>
                <a:lnTo>
                  <a:pt x="2076786" y="1256831"/>
                </a:lnTo>
                <a:lnTo>
                  <a:pt x="2076220" y="1288648"/>
                </a:lnTo>
                <a:cubicBezTo>
                  <a:pt x="2071343" y="1343096"/>
                  <a:pt x="2044737" y="1415136"/>
                  <a:pt x="1997142" y="1502857"/>
                </a:cubicBezTo>
                <a:cubicBezTo>
                  <a:pt x="1973992" y="1545575"/>
                  <a:pt x="1907199" y="1661446"/>
                  <a:pt x="1788674" y="1814170"/>
                </a:cubicBezTo>
                <a:lnTo>
                  <a:pt x="1787254" y="1815960"/>
                </a:lnTo>
                <a:lnTo>
                  <a:pt x="1713114" y="1815960"/>
                </a:lnTo>
                <a:lnTo>
                  <a:pt x="1713616" y="1815342"/>
                </a:lnTo>
                <a:lnTo>
                  <a:pt x="1691940" y="1815342"/>
                </a:lnTo>
                <a:lnTo>
                  <a:pt x="1698052" y="1807811"/>
                </a:lnTo>
                <a:cubicBezTo>
                  <a:pt x="1700891" y="1804354"/>
                  <a:pt x="1978869" y="1460323"/>
                  <a:pt x="1996462" y="1283956"/>
                </a:cubicBezTo>
                <a:cubicBezTo>
                  <a:pt x="1997141" y="1279635"/>
                  <a:pt x="2012266" y="1185494"/>
                  <a:pt x="1955534" y="1118454"/>
                </a:cubicBezTo>
                <a:cubicBezTo>
                  <a:pt x="1926644" y="1084285"/>
                  <a:pt x="1884211" y="1062756"/>
                  <a:pt x="1828991" y="1054127"/>
                </a:cubicBezTo>
                <a:lnTo>
                  <a:pt x="1784872" y="1050922"/>
                </a:lnTo>
                <a:lnTo>
                  <a:pt x="1733424" y="1055248"/>
                </a:lnTo>
                <a:cubicBezTo>
                  <a:pt x="1605628" y="1076791"/>
                  <a:pt x="1521391" y="1163688"/>
                  <a:pt x="1510696" y="1175247"/>
                </a:cubicBezTo>
                <a:lnTo>
                  <a:pt x="1510696" y="1802070"/>
                </a:lnTo>
                <a:lnTo>
                  <a:pt x="1510696" y="1816022"/>
                </a:lnTo>
                <a:lnTo>
                  <a:pt x="1452113" y="1816022"/>
                </a:lnTo>
                <a:lnTo>
                  <a:pt x="1452113" y="1815404"/>
                </a:lnTo>
                <a:lnTo>
                  <a:pt x="1430877" y="1815404"/>
                </a:lnTo>
                <a:lnTo>
                  <a:pt x="1430877" y="1174629"/>
                </a:lnTo>
                <a:cubicBezTo>
                  <a:pt x="1420182" y="1163070"/>
                  <a:pt x="1335946" y="1076173"/>
                  <a:pt x="1208150" y="1054630"/>
                </a:cubicBezTo>
                <a:lnTo>
                  <a:pt x="1164594" y="1050968"/>
                </a:lnTo>
                <a:lnTo>
                  <a:pt x="1112547" y="1054755"/>
                </a:lnTo>
                <a:cubicBezTo>
                  <a:pt x="1057301" y="1063401"/>
                  <a:pt x="1014868" y="1084964"/>
                  <a:pt x="985977" y="1119133"/>
                </a:cubicBezTo>
                <a:cubicBezTo>
                  <a:pt x="957612" y="1152684"/>
                  <a:pt x="947210" y="1192964"/>
                  <a:pt x="943984" y="1225350"/>
                </a:cubicBezTo>
                <a:lnTo>
                  <a:pt x="943405" y="1254778"/>
                </a:lnTo>
                <a:lnTo>
                  <a:pt x="944286" y="1264777"/>
                </a:lnTo>
                <a:cubicBezTo>
                  <a:pt x="944654" y="1267857"/>
                  <a:pt x="944964" y="1269758"/>
                  <a:pt x="945049" y="1270252"/>
                </a:cubicBezTo>
                <a:cubicBezTo>
                  <a:pt x="962704" y="1447051"/>
                  <a:pt x="1240744" y="1791020"/>
                  <a:pt x="1243522" y="1794477"/>
                </a:cubicBezTo>
                <a:lnTo>
                  <a:pt x="1249633" y="1802008"/>
                </a:lnTo>
                <a:lnTo>
                  <a:pt x="1238401" y="1802008"/>
                </a:lnTo>
                <a:lnTo>
                  <a:pt x="1239906" y="1803914"/>
                </a:lnTo>
                <a:cubicBezTo>
                  <a:pt x="1242100" y="1806667"/>
                  <a:pt x="1243349" y="1808213"/>
                  <a:pt x="1243522" y="1808429"/>
                </a:cubicBezTo>
                <a:lnTo>
                  <a:pt x="1249633" y="1815960"/>
                </a:lnTo>
                <a:lnTo>
                  <a:pt x="1175493" y="1815960"/>
                </a:lnTo>
                <a:lnTo>
                  <a:pt x="1175003" y="1815342"/>
                </a:lnTo>
                <a:lnTo>
                  <a:pt x="1154257" y="1815342"/>
                </a:lnTo>
                <a:lnTo>
                  <a:pt x="1152838" y="1813552"/>
                </a:lnTo>
                <a:cubicBezTo>
                  <a:pt x="1034251" y="1660828"/>
                  <a:pt x="967519" y="1544958"/>
                  <a:pt x="944308" y="1502239"/>
                </a:cubicBezTo>
                <a:cubicBezTo>
                  <a:pt x="896713" y="1414519"/>
                  <a:pt x="870107" y="1342416"/>
                  <a:pt x="865292" y="1288031"/>
                </a:cubicBezTo>
                <a:lnTo>
                  <a:pt x="864746" y="1257454"/>
                </a:lnTo>
                <a:lnTo>
                  <a:pt x="825660" y="1267907"/>
                </a:lnTo>
                <a:cubicBezTo>
                  <a:pt x="808499" y="1275422"/>
                  <a:pt x="794301" y="1285068"/>
                  <a:pt x="783189" y="1296797"/>
                </a:cubicBezTo>
                <a:cubicBezTo>
                  <a:pt x="769238" y="1311489"/>
                  <a:pt x="759114" y="1330132"/>
                  <a:pt x="752848" y="1352556"/>
                </a:cubicBezTo>
                <a:lnTo>
                  <a:pt x="746521" y="1421575"/>
                </a:lnTo>
                <a:lnTo>
                  <a:pt x="752032" y="1450442"/>
                </a:lnTo>
                <a:cubicBezTo>
                  <a:pt x="763300" y="1487863"/>
                  <a:pt x="789100" y="1537056"/>
                  <a:pt x="828129" y="1595207"/>
                </a:cubicBezTo>
                <a:cubicBezTo>
                  <a:pt x="869551" y="1656877"/>
                  <a:pt x="926592" y="1729473"/>
                  <a:pt x="984743" y="1794291"/>
                </a:cubicBezTo>
                <a:lnTo>
                  <a:pt x="991657" y="1802008"/>
                </a:lnTo>
                <a:lnTo>
                  <a:pt x="979507" y="1802008"/>
                </a:lnTo>
                <a:lnTo>
                  <a:pt x="984743" y="1808244"/>
                </a:lnTo>
                <a:lnTo>
                  <a:pt x="991657" y="1815960"/>
                </a:lnTo>
                <a:lnTo>
                  <a:pt x="913937" y="1815960"/>
                </a:lnTo>
                <a:lnTo>
                  <a:pt x="913414" y="1815342"/>
                </a:lnTo>
                <a:lnTo>
                  <a:pt x="892701" y="1815342"/>
                </a:lnTo>
                <a:lnTo>
                  <a:pt x="891342" y="1813737"/>
                </a:lnTo>
                <a:cubicBezTo>
                  <a:pt x="809548" y="1718547"/>
                  <a:pt x="671454" y="1542550"/>
                  <a:pt x="665960" y="1433347"/>
                </a:cubicBezTo>
                <a:cubicBezTo>
                  <a:pt x="660544" y="1325841"/>
                  <a:pt x="698844" y="1252018"/>
                  <a:pt x="777659" y="1215575"/>
                </a:cubicBezTo>
                <a:lnTo>
                  <a:pt x="782871" y="1214227"/>
                </a:lnTo>
                <a:lnTo>
                  <a:pt x="798895" y="1202240"/>
                </a:lnTo>
                <a:lnTo>
                  <a:pt x="871960" y="1183344"/>
                </a:lnTo>
                <a:lnTo>
                  <a:pt x="881182" y="1146514"/>
                </a:lnTo>
                <a:cubicBezTo>
                  <a:pt x="896253" y="1103924"/>
                  <a:pt x="922419" y="1069317"/>
                  <a:pt x="958330" y="1043673"/>
                </a:cubicBezTo>
                <a:lnTo>
                  <a:pt x="973769" y="1036532"/>
                </a:lnTo>
                <a:lnTo>
                  <a:pt x="979565" y="1030285"/>
                </a:lnTo>
                <a:cubicBezTo>
                  <a:pt x="1027446" y="996086"/>
                  <a:pt x="1092650" y="977829"/>
                  <a:pt x="1171975" y="977829"/>
                </a:cubicBezTo>
                <a:cubicBezTo>
                  <a:pt x="1202779" y="977829"/>
                  <a:pt x="1233491" y="981378"/>
                  <a:pt x="1263909" y="988439"/>
                </a:cubicBezTo>
                <a:lnTo>
                  <a:pt x="1334979" y="1013404"/>
                </a:lnTo>
                <a:lnTo>
                  <a:pt x="1337911" y="985744"/>
                </a:lnTo>
                <a:cubicBezTo>
                  <a:pt x="1347167" y="956426"/>
                  <a:pt x="1367141" y="932624"/>
                  <a:pt x="1391583" y="917133"/>
                </a:cubicBezTo>
                <a:lnTo>
                  <a:pt x="1403456" y="912093"/>
                </a:lnTo>
                <a:lnTo>
                  <a:pt x="1412819" y="903711"/>
                </a:lnTo>
                <a:lnTo>
                  <a:pt x="1430815" y="896084"/>
                </a:lnTo>
                <a:lnTo>
                  <a:pt x="1430815" y="823562"/>
                </a:lnTo>
                <a:cubicBezTo>
                  <a:pt x="1430815" y="815475"/>
                  <a:pt x="1434102" y="808144"/>
                  <a:pt x="1439404" y="802835"/>
                </a:cubicBezTo>
                <a:lnTo>
                  <a:pt x="1458354" y="794955"/>
                </a:lnTo>
                <a:lnTo>
                  <a:pt x="1460640" y="789439"/>
                </a:lnTo>
                <a:cubicBezTo>
                  <a:pt x="1465941" y="784130"/>
                  <a:pt x="1473256" y="780843"/>
                  <a:pt x="1481312" y="780843"/>
                </a:cubicBezTo>
                <a:close/>
                <a:moveTo>
                  <a:pt x="1555329" y="706642"/>
                </a:moveTo>
                <a:lnTo>
                  <a:pt x="1654161" y="706642"/>
                </a:lnTo>
                <a:cubicBezTo>
                  <a:pt x="1670335" y="706642"/>
                  <a:pt x="1683483" y="719791"/>
                  <a:pt x="1683483" y="735965"/>
                </a:cubicBezTo>
                <a:lnTo>
                  <a:pt x="1680590" y="742940"/>
                </a:lnTo>
                <a:lnTo>
                  <a:pt x="1683483" y="749915"/>
                </a:lnTo>
                <a:cubicBezTo>
                  <a:pt x="1683483" y="766089"/>
                  <a:pt x="1670335" y="779238"/>
                  <a:pt x="1654161" y="779238"/>
                </a:cubicBezTo>
                <a:lnTo>
                  <a:pt x="1555329" y="779238"/>
                </a:lnTo>
                <a:lnTo>
                  <a:pt x="1553841" y="778621"/>
                </a:lnTo>
                <a:lnTo>
                  <a:pt x="1534093" y="778621"/>
                </a:lnTo>
                <a:cubicBezTo>
                  <a:pt x="1517919" y="778621"/>
                  <a:pt x="1504770" y="765472"/>
                  <a:pt x="1504770" y="749299"/>
                </a:cubicBezTo>
                <a:cubicBezTo>
                  <a:pt x="1504770" y="741212"/>
                  <a:pt x="1508057" y="733881"/>
                  <a:pt x="1513366" y="728572"/>
                </a:cubicBezTo>
                <a:lnTo>
                  <a:pt x="1532335" y="720705"/>
                </a:lnTo>
                <a:lnTo>
                  <a:pt x="1534602" y="715238"/>
                </a:lnTo>
                <a:cubicBezTo>
                  <a:pt x="1539911" y="709929"/>
                  <a:pt x="1547242" y="706642"/>
                  <a:pt x="1555329" y="706642"/>
                </a:cubicBezTo>
                <a:close/>
                <a:moveTo>
                  <a:pt x="1308526" y="706642"/>
                </a:moveTo>
                <a:lnTo>
                  <a:pt x="1407358" y="706642"/>
                </a:lnTo>
                <a:cubicBezTo>
                  <a:pt x="1423532" y="706642"/>
                  <a:pt x="1436680" y="719791"/>
                  <a:pt x="1436680" y="735965"/>
                </a:cubicBezTo>
                <a:lnTo>
                  <a:pt x="1433787" y="742940"/>
                </a:lnTo>
                <a:lnTo>
                  <a:pt x="1436680" y="749915"/>
                </a:lnTo>
                <a:cubicBezTo>
                  <a:pt x="1436680" y="766089"/>
                  <a:pt x="1423532" y="779238"/>
                  <a:pt x="1407358" y="779238"/>
                </a:cubicBezTo>
                <a:lnTo>
                  <a:pt x="1308526" y="779238"/>
                </a:lnTo>
                <a:lnTo>
                  <a:pt x="1307039" y="778621"/>
                </a:lnTo>
                <a:lnTo>
                  <a:pt x="1287290" y="778621"/>
                </a:lnTo>
                <a:cubicBezTo>
                  <a:pt x="1271116" y="778621"/>
                  <a:pt x="1257967" y="765472"/>
                  <a:pt x="1257967" y="749299"/>
                </a:cubicBezTo>
                <a:cubicBezTo>
                  <a:pt x="1257967" y="741212"/>
                  <a:pt x="1261254" y="733881"/>
                  <a:pt x="1266563" y="728572"/>
                </a:cubicBezTo>
                <a:lnTo>
                  <a:pt x="1285532" y="720705"/>
                </a:lnTo>
                <a:lnTo>
                  <a:pt x="1287799" y="715238"/>
                </a:lnTo>
                <a:cubicBezTo>
                  <a:pt x="1293108" y="709929"/>
                  <a:pt x="1300439" y="706642"/>
                  <a:pt x="1308526" y="706642"/>
                </a:cubicBezTo>
                <a:close/>
                <a:moveTo>
                  <a:pt x="1481313" y="533608"/>
                </a:moveTo>
                <a:cubicBezTo>
                  <a:pt x="1497486" y="533608"/>
                  <a:pt x="1510635" y="546757"/>
                  <a:pt x="1510635" y="562931"/>
                </a:cubicBezTo>
                <a:lnTo>
                  <a:pt x="1510635" y="576882"/>
                </a:lnTo>
                <a:lnTo>
                  <a:pt x="1510635" y="661639"/>
                </a:lnTo>
                <a:lnTo>
                  <a:pt x="1510635" y="675590"/>
                </a:lnTo>
                <a:cubicBezTo>
                  <a:pt x="1510635" y="691764"/>
                  <a:pt x="1497486" y="704913"/>
                  <a:pt x="1481313" y="704913"/>
                </a:cubicBezTo>
                <a:lnTo>
                  <a:pt x="1469951" y="700201"/>
                </a:lnTo>
                <a:lnTo>
                  <a:pt x="1460077" y="704296"/>
                </a:lnTo>
                <a:cubicBezTo>
                  <a:pt x="1443903" y="704296"/>
                  <a:pt x="1430754" y="691147"/>
                  <a:pt x="1430754" y="674973"/>
                </a:cubicBezTo>
                <a:lnTo>
                  <a:pt x="1430754" y="576265"/>
                </a:lnTo>
                <a:cubicBezTo>
                  <a:pt x="1430754" y="568178"/>
                  <a:pt x="1434041" y="560847"/>
                  <a:pt x="1439350" y="555538"/>
                </a:cubicBezTo>
                <a:lnTo>
                  <a:pt x="1458319" y="547671"/>
                </a:lnTo>
                <a:lnTo>
                  <a:pt x="1460586" y="542204"/>
                </a:lnTo>
                <a:cubicBezTo>
                  <a:pt x="1465895" y="536895"/>
                  <a:pt x="1473226" y="533608"/>
                  <a:pt x="1481313" y="533608"/>
                </a:cubicBezTo>
                <a:close/>
                <a:moveTo>
                  <a:pt x="1460077" y="74078"/>
                </a:moveTo>
                <a:cubicBezTo>
                  <a:pt x="1089872" y="74078"/>
                  <a:pt x="741829" y="218221"/>
                  <a:pt x="480025" y="480025"/>
                </a:cubicBezTo>
                <a:cubicBezTo>
                  <a:pt x="218283" y="741829"/>
                  <a:pt x="74078" y="1089872"/>
                  <a:pt x="74078" y="1460139"/>
                </a:cubicBezTo>
                <a:cubicBezTo>
                  <a:pt x="74078" y="1830405"/>
                  <a:pt x="218221" y="2178386"/>
                  <a:pt x="480025" y="2440190"/>
                </a:cubicBezTo>
                <a:cubicBezTo>
                  <a:pt x="741829" y="2701933"/>
                  <a:pt x="1089872" y="2846138"/>
                  <a:pt x="1460077" y="2846138"/>
                </a:cubicBezTo>
                <a:cubicBezTo>
                  <a:pt x="1830282" y="2846138"/>
                  <a:pt x="2178325" y="2701994"/>
                  <a:pt x="2440129" y="2440190"/>
                </a:cubicBezTo>
                <a:cubicBezTo>
                  <a:pt x="2701933" y="2178386"/>
                  <a:pt x="2846076" y="1830344"/>
                  <a:pt x="2846076" y="1460139"/>
                </a:cubicBezTo>
                <a:cubicBezTo>
                  <a:pt x="2846076" y="1089934"/>
                  <a:pt x="2701933" y="741829"/>
                  <a:pt x="2440129" y="480087"/>
                </a:cubicBezTo>
                <a:cubicBezTo>
                  <a:pt x="2178325" y="218345"/>
                  <a:pt x="1830282" y="74078"/>
                  <a:pt x="1460077" y="74078"/>
                </a:cubicBezTo>
                <a:close/>
                <a:moveTo>
                  <a:pt x="1460077" y="0"/>
                </a:moveTo>
                <a:cubicBezTo>
                  <a:pt x="1850098" y="0"/>
                  <a:pt x="2216722" y="151860"/>
                  <a:pt x="2492477" y="427677"/>
                </a:cubicBezTo>
                <a:cubicBezTo>
                  <a:pt x="2768232" y="703494"/>
                  <a:pt x="2920154" y="1070118"/>
                  <a:pt x="2920154" y="1460139"/>
                </a:cubicBezTo>
                <a:cubicBezTo>
                  <a:pt x="2920154" y="1850159"/>
                  <a:pt x="2768294" y="2216784"/>
                  <a:pt x="2492477" y="2492601"/>
                </a:cubicBezTo>
                <a:cubicBezTo>
                  <a:pt x="2216722" y="2768356"/>
                  <a:pt x="1850036" y="2920216"/>
                  <a:pt x="1460077" y="2920216"/>
                </a:cubicBezTo>
                <a:lnTo>
                  <a:pt x="1460077" y="2920154"/>
                </a:lnTo>
                <a:cubicBezTo>
                  <a:pt x="1070056" y="2920154"/>
                  <a:pt x="703432" y="2768294"/>
                  <a:pt x="427615" y="2492539"/>
                </a:cubicBezTo>
                <a:cubicBezTo>
                  <a:pt x="151860" y="2216784"/>
                  <a:pt x="0" y="1850098"/>
                  <a:pt x="0" y="1460139"/>
                </a:cubicBezTo>
                <a:cubicBezTo>
                  <a:pt x="0" y="1070180"/>
                  <a:pt x="151860" y="703432"/>
                  <a:pt x="427677" y="427677"/>
                </a:cubicBezTo>
                <a:cubicBezTo>
                  <a:pt x="703432" y="151922"/>
                  <a:pt x="1070056" y="0"/>
                  <a:pt x="1460077" y="0"/>
                </a:cubicBezTo>
                <a:close/>
              </a:path>
            </a:pathLst>
          </a:custGeom>
          <a:solidFill>
            <a:srgbClr val="FFFFFF"/>
          </a:solidFill>
          <a:ln w="0" cap="flat">
            <a:noFill/>
            <a:prstDash val="solid"/>
            <a:miter/>
          </a:ln>
        </p:spPr>
        <p:txBody>
          <a:bodyPr rtlCol="0" anchor="ctr"/>
          <a:lstStyle/>
          <a:p>
            <a:endParaRPr lang="da-DK" sz="1200" dirty="0"/>
          </a:p>
        </p:txBody>
      </p:sp>
      <p:sp>
        <p:nvSpPr>
          <p:cNvPr id="9" name="Freeform: Shape 8">
            <a:extLst>
              <a:ext uri="{FF2B5EF4-FFF2-40B4-BE49-F238E27FC236}">
                <a16:creationId xmlns:a16="http://schemas.microsoft.com/office/drawing/2014/main" id="{A2A06FFF-82E0-633D-3E48-62ACD260CE24}"/>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47098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DFI_Forside_0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ladsholder til dato 14">
            <a:extLst>
              <a:ext uri="{FF2B5EF4-FFF2-40B4-BE49-F238E27FC236}">
                <a16:creationId xmlns:a16="http://schemas.microsoft.com/office/drawing/2014/main" id="{47AA7A74-F342-83E8-9CD6-7CEDC26B079D}"/>
              </a:ext>
            </a:extLst>
          </p:cNvPr>
          <p:cNvSpPr>
            <a:spLocks noGrp="1"/>
          </p:cNvSpPr>
          <p:nvPr>
            <p:ph type="dt" sz="half" idx="13"/>
          </p:nvPr>
        </p:nvSpPr>
        <p:spPr>
          <a:xfrm>
            <a:off x="934138" y="4029912"/>
            <a:ext cx="1231973" cy="273844"/>
          </a:xfrm>
          <a:prstGeom prst="rect">
            <a:avLst/>
          </a:prstGeom>
        </p:spPr>
        <p:txBody>
          <a:bodyPr lIns="0" rIns="0"/>
          <a:lstStyle>
            <a:lvl1pPr algn="l">
              <a:defRPr sz="750">
                <a:solidFill>
                  <a:schemeClr val="bg1"/>
                </a:solidFill>
                <a:latin typeface="+mn-lt"/>
                <a:ea typeface="Arial" panose="020B0604020202020204" pitchFamily="34" charset="0"/>
                <a:cs typeface="Arial" panose="020B0604020202020204" pitchFamily="34" charset="0"/>
              </a:defRPr>
            </a:lvl1pPr>
          </a:lstStyle>
          <a:p>
            <a:fld id="{7291416A-56D6-4D86-BC8A-8777B188D79A}" type="datetime2">
              <a:rPr lang="da-DK" smtClean="0"/>
              <a:t>17. september 2025</a:t>
            </a:fld>
            <a:endParaRPr lang="da-DK" dirty="0"/>
          </a:p>
        </p:txBody>
      </p:sp>
      <p:sp>
        <p:nvSpPr>
          <p:cNvPr id="3" name="Pladsholder til tekst 16">
            <a:extLst>
              <a:ext uri="{FF2B5EF4-FFF2-40B4-BE49-F238E27FC236}">
                <a16:creationId xmlns:a16="http://schemas.microsoft.com/office/drawing/2014/main" id="{488CCEE0-5D8E-6F21-42FF-937D34319F30}"/>
              </a:ext>
            </a:extLst>
          </p:cNvPr>
          <p:cNvSpPr>
            <a:spLocks noGrp="1"/>
          </p:cNvSpPr>
          <p:nvPr>
            <p:ph type="body" sz="quarter" idx="10" hasCustomPrompt="1"/>
          </p:nvPr>
        </p:nvSpPr>
        <p:spPr>
          <a:xfrm>
            <a:off x="934138" y="2067694"/>
            <a:ext cx="7087103" cy="1205443"/>
          </a:xfrm>
          <a:prstGeom prst="rect">
            <a:avLst/>
          </a:prstGeom>
          <a:effectLst>
            <a:softEdge rad="0"/>
          </a:effectLst>
        </p:spPr>
        <p:txBody>
          <a:bodyPr lIns="0" rIns="0" anchor="t" anchorCtr="0">
            <a:noAutofit/>
          </a:bodyPr>
          <a:lstStyle>
            <a:lvl1pPr marL="0" indent="0" algn="l">
              <a:spcBef>
                <a:spcPts val="0"/>
              </a:spcBef>
              <a:spcAft>
                <a:spcPts val="0"/>
              </a:spcAft>
              <a:buNone/>
              <a:defRPr sz="3450" b="0" baseline="0">
                <a:solidFill>
                  <a:schemeClr val="bg1"/>
                </a:solidFill>
                <a:latin typeface="+mj-lt"/>
                <a:ea typeface="Arial" panose="020B0604020202020204" pitchFamily="34" charset="0"/>
                <a:cs typeface="Arial" panose="020B0604020202020204" pitchFamily="34" charset="0"/>
              </a:defRPr>
            </a:lvl1pPr>
          </a:lstStyle>
          <a:p>
            <a:pPr lvl="0"/>
            <a:r>
              <a:rPr lang="da-DK" dirty="0"/>
              <a:t>Her kan du skrive </a:t>
            </a:r>
            <a:br>
              <a:rPr lang="da-DK" dirty="0"/>
            </a:br>
            <a:r>
              <a:rPr lang="da-DK" dirty="0"/>
              <a:t>din titel i to linjer</a:t>
            </a:r>
            <a:endParaRPr lang="da-DK" noProof="0" dirty="0"/>
          </a:p>
        </p:txBody>
      </p:sp>
      <p:sp>
        <p:nvSpPr>
          <p:cNvPr id="7" name="Pladsholder til tekst 16">
            <a:extLst>
              <a:ext uri="{FF2B5EF4-FFF2-40B4-BE49-F238E27FC236}">
                <a16:creationId xmlns:a16="http://schemas.microsoft.com/office/drawing/2014/main" id="{F61EB2B6-FCC1-33F7-D4AC-8108C19C4F22}"/>
              </a:ext>
            </a:extLst>
          </p:cNvPr>
          <p:cNvSpPr>
            <a:spLocks noGrp="1"/>
          </p:cNvSpPr>
          <p:nvPr>
            <p:ph type="body" sz="quarter" idx="11" hasCustomPrompt="1"/>
          </p:nvPr>
        </p:nvSpPr>
        <p:spPr>
          <a:xfrm>
            <a:off x="934139" y="3357159"/>
            <a:ext cx="5855997" cy="360040"/>
          </a:xfrm>
          <a:prstGeom prst="rect">
            <a:avLst/>
          </a:prstGeom>
          <a:effectLst>
            <a:softEdge rad="0"/>
          </a:effectLst>
        </p:spPr>
        <p:txBody>
          <a:bodyPr lIns="0" rIns="0" anchor="t">
            <a:noAutofit/>
          </a:bodyPr>
          <a:lstStyle>
            <a:lvl1pPr marL="0" indent="0" algn="l">
              <a:buNone/>
              <a:defRPr sz="1650" b="0" baseline="0">
                <a:solidFill>
                  <a:schemeClr val="bg1"/>
                </a:solidFill>
                <a:latin typeface="+mj-lt"/>
                <a:ea typeface="Arial" panose="020B0604020202020204" pitchFamily="34" charset="0"/>
                <a:cs typeface="Arial" panose="020B0604020202020204" pitchFamily="34" charset="0"/>
              </a:defRPr>
            </a:lvl1pPr>
          </a:lstStyle>
          <a:p>
            <a:pPr lvl="0"/>
            <a:r>
              <a:rPr lang="da-DK" noProof="0" dirty="0"/>
              <a:t>Klik her for at tilføje en underoverskrift</a:t>
            </a:r>
          </a:p>
        </p:txBody>
      </p:sp>
      <p:sp>
        <p:nvSpPr>
          <p:cNvPr id="4" name="Footer Placeholder 8">
            <a:extLst>
              <a:ext uri="{FF2B5EF4-FFF2-40B4-BE49-F238E27FC236}">
                <a16:creationId xmlns:a16="http://schemas.microsoft.com/office/drawing/2014/main" id="{C2E416D1-245C-65D4-4329-1C0E8FE73B08}"/>
              </a:ext>
            </a:extLst>
          </p:cNvPr>
          <p:cNvSpPr>
            <a:spLocks noGrp="1"/>
          </p:cNvSpPr>
          <p:nvPr>
            <p:ph type="ftr" sz="quarter" idx="17"/>
          </p:nvPr>
        </p:nvSpPr>
        <p:spPr>
          <a:xfrm>
            <a:off x="0" y="5143500"/>
            <a:ext cx="0" cy="0"/>
          </a:xfrm>
          <a:prstGeom prst="rect">
            <a:avLst/>
          </a:prstGeom>
        </p:spPr>
        <p:txBody>
          <a:bodyPr vert="horz" lIns="0" tIns="0" rIns="0" bIns="0" rtlCol="0" anchor="b" anchorCtr="0"/>
          <a:lstStyle>
            <a:defPPr>
              <a:defRPr lang="da-DK"/>
            </a:defPPr>
            <a:lvl1pPr marL="0" algn="l" defTabSz="685800" rtl="0" eaLnBrk="1" latinLnBrk="0" hangingPunct="1">
              <a:defRPr lang="da-DK"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6" name="Slide Number Placeholder 9">
            <a:extLst>
              <a:ext uri="{FF2B5EF4-FFF2-40B4-BE49-F238E27FC236}">
                <a16:creationId xmlns:a16="http://schemas.microsoft.com/office/drawing/2014/main" id="{C7A8004E-CD6A-DEC0-1426-C76A95245D5B}"/>
              </a:ext>
            </a:extLst>
          </p:cNvPr>
          <p:cNvSpPr>
            <a:spLocks noGrp="1"/>
          </p:cNvSpPr>
          <p:nvPr>
            <p:ph type="sldNum" sz="quarter" idx="18"/>
          </p:nvPr>
        </p:nvSpPr>
        <p:spPr>
          <a:xfrm>
            <a:off x="0" y="5143500"/>
            <a:ext cx="0" cy="0"/>
          </a:xfrm>
          <a:prstGeom prst="rect">
            <a:avLst/>
          </a:prstGeom>
        </p:spPr>
        <p:txBody>
          <a:bodyPr vert="horz" lIns="0" tIns="0" rIns="0" bIns="0" rtlCol="0" anchor="b" anchorCtr="0"/>
          <a:lstStyle>
            <a:defPPr>
              <a:defRPr lang="da-DK"/>
            </a:defPPr>
            <a:lvl1pPr marL="0" algn="r" defTabSz="685800" rtl="0" eaLnBrk="1" latinLnBrk="0" hangingPunct="1">
              <a:defRPr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8" name="Freeform: Shape 7">
            <a:extLst>
              <a:ext uri="{FF2B5EF4-FFF2-40B4-BE49-F238E27FC236}">
                <a16:creationId xmlns:a16="http://schemas.microsoft.com/office/drawing/2014/main" id="{56DB3125-D1D6-6C73-4ED1-B44AEC3EDEB6}"/>
              </a:ext>
            </a:extLst>
          </p:cNvPr>
          <p:cNvSpPr/>
          <p:nvPr userDrawn="1"/>
        </p:nvSpPr>
        <p:spPr>
          <a:xfrm>
            <a:off x="934641" y="778409"/>
            <a:ext cx="1141177" cy="1141201"/>
          </a:xfrm>
          <a:custGeom>
            <a:avLst/>
            <a:gdLst>
              <a:gd name="connsiteX0" fmla="*/ 908875 w 2920154"/>
              <a:gd name="connsiteY0" fmla="*/ 2064244 h 2920216"/>
              <a:gd name="connsiteX1" fmla="*/ 2053750 w 2920154"/>
              <a:gd name="connsiteY1" fmla="*/ 2064244 h 2920216"/>
              <a:gd name="connsiteX2" fmla="*/ 2053750 w 2920154"/>
              <a:gd name="connsiteY2" fmla="*/ 2078196 h 2920216"/>
              <a:gd name="connsiteX3" fmla="*/ 2053750 w 2920154"/>
              <a:gd name="connsiteY3" fmla="*/ 2122889 h 2920216"/>
              <a:gd name="connsiteX4" fmla="*/ 2053750 w 2920154"/>
              <a:gd name="connsiteY4" fmla="*/ 2136841 h 2920216"/>
              <a:gd name="connsiteX5" fmla="*/ 908875 w 2920154"/>
              <a:gd name="connsiteY5" fmla="*/ 2136841 h 2920216"/>
              <a:gd name="connsiteX6" fmla="*/ 908875 w 2920154"/>
              <a:gd name="connsiteY6" fmla="*/ 2136223 h 2920216"/>
              <a:gd name="connsiteX7" fmla="*/ 887639 w 2920154"/>
              <a:gd name="connsiteY7" fmla="*/ 2136223 h 2920216"/>
              <a:gd name="connsiteX8" fmla="*/ 887639 w 2920154"/>
              <a:gd name="connsiteY8" fmla="*/ 2077578 h 2920216"/>
              <a:gd name="connsiteX9" fmla="*/ 908875 w 2920154"/>
              <a:gd name="connsiteY9" fmla="*/ 2077578 h 2920216"/>
              <a:gd name="connsiteX10" fmla="*/ 908875 w 2920154"/>
              <a:gd name="connsiteY10" fmla="*/ 1965535 h 2920216"/>
              <a:gd name="connsiteX11" fmla="*/ 2053750 w 2920154"/>
              <a:gd name="connsiteY11" fmla="*/ 1965535 h 2920216"/>
              <a:gd name="connsiteX12" fmla="*/ 2053750 w 2920154"/>
              <a:gd name="connsiteY12" fmla="*/ 1979487 h 2920216"/>
              <a:gd name="connsiteX13" fmla="*/ 2053750 w 2920154"/>
              <a:gd name="connsiteY13" fmla="*/ 2024180 h 2920216"/>
              <a:gd name="connsiteX14" fmla="*/ 2053750 w 2920154"/>
              <a:gd name="connsiteY14" fmla="*/ 2038132 h 2920216"/>
              <a:gd name="connsiteX15" fmla="*/ 908875 w 2920154"/>
              <a:gd name="connsiteY15" fmla="*/ 2038132 h 2920216"/>
              <a:gd name="connsiteX16" fmla="*/ 908875 w 2920154"/>
              <a:gd name="connsiteY16" fmla="*/ 2037514 h 2920216"/>
              <a:gd name="connsiteX17" fmla="*/ 887639 w 2920154"/>
              <a:gd name="connsiteY17" fmla="*/ 2037514 h 2920216"/>
              <a:gd name="connsiteX18" fmla="*/ 887639 w 2920154"/>
              <a:gd name="connsiteY18" fmla="*/ 1978869 h 2920216"/>
              <a:gd name="connsiteX19" fmla="*/ 908875 w 2920154"/>
              <a:gd name="connsiteY19" fmla="*/ 1978869 h 2920216"/>
              <a:gd name="connsiteX20" fmla="*/ 908875 w 2920154"/>
              <a:gd name="connsiteY20" fmla="*/ 1866826 h 2920216"/>
              <a:gd name="connsiteX21" fmla="*/ 2053750 w 2920154"/>
              <a:gd name="connsiteY21" fmla="*/ 1866826 h 2920216"/>
              <a:gd name="connsiteX22" fmla="*/ 2053750 w 2920154"/>
              <a:gd name="connsiteY22" fmla="*/ 1880778 h 2920216"/>
              <a:gd name="connsiteX23" fmla="*/ 2053750 w 2920154"/>
              <a:gd name="connsiteY23" fmla="*/ 1925471 h 2920216"/>
              <a:gd name="connsiteX24" fmla="*/ 2053750 w 2920154"/>
              <a:gd name="connsiteY24" fmla="*/ 1939423 h 2920216"/>
              <a:gd name="connsiteX25" fmla="*/ 908875 w 2920154"/>
              <a:gd name="connsiteY25" fmla="*/ 1939423 h 2920216"/>
              <a:gd name="connsiteX26" fmla="*/ 908875 w 2920154"/>
              <a:gd name="connsiteY26" fmla="*/ 1938805 h 2920216"/>
              <a:gd name="connsiteX27" fmla="*/ 887639 w 2920154"/>
              <a:gd name="connsiteY27" fmla="*/ 1938805 h 2920216"/>
              <a:gd name="connsiteX28" fmla="*/ 887639 w 2920154"/>
              <a:gd name="connsiteY28" fmla="*/ 1880160 h 2920216"/>
              <a:gd name="connsiteX29" fmla="*/ 908875 w 2920154"/>
              <a:gd name="connsiteY29" fmla="*/ 1880160 h 2920216"/>
              <a:gd name="connsiteX30" fmla="*/ 1474198 w 2920154"/>
              <a:gd name="connsiteY30" fmla="*/ 954491 h 2920216"/>
              <a:gd name="connsiteX31" fmla="*/ 1440416 w 2920154"/>
              <a:gd name="connsiteY31" fmla="*/ 964842 h 2920216"/>
              <a:gd name="connsiteX32" fmla="*/ 1413811 w 2920154"/>
              <a:gd name="connsiteY32" fmla="*/ 997197 h 2920216"/>
              <a:gd name="connsiteX33" fmla="*/ 1409446 w 2920154"/>
              <a:gd name="connsiteY33" fmla="*/ 1018819 h 2920216"/>
              <a:gd name="connsiteX34" fmla="*/ 1413811 w 2920154"/>
              <a:gd name="connsiteY34" fmla="*/ 1040441 h 2920216"/>
              <a:gd name="connsiteX35" fmla="*/ 1481436 w 2920154"/>
              <a:gd name="connsiteY35" fmla="*/ 1085365 h 2920216"/>
              <a:gd name="connsiteX36" fmla="*/ 1513081 w 2920154"/>
              <a:gd name="connsiteY36" fmla="*/ 1075668 h 2920216"/>
              <a:gd name="connsiteX37" fmla="*/ 1527824 w 2920154"/>
              <a:gd name="connsiteY37" fmla="*/ 1053775 h 2920216"/>
              <a:gd name="connsiteX38" fmla="*/ 1533598 w 2920154"/>
              <a:gd name="connsiteY38" fmla="*/ 1025177 h 2920216"/>
              <a:gd name="connsiteX39" fmla="*/ 1488753 w 2920154"/>
              <a:gd name="connsiteY39" fmla="*/ 957439 h 2920216"/>
              <a:gd name="connsiteX40" fmla="*/ 1481312 w 2920154"/>
              <a:gd name="connsiteY40" fmla="*/ 780843 h 2920216"/>
              <a:gd name="connsiteX41" fmla="*/ 1510573 w 2920154"/>
              <a:gd name="connsiteY41" fmla="*/ 810166 h 2920216"/>
              <a:gd name="connsiteX42" fmla="*/ 1510573 w 2920154"/>
              <a:gd name="connsiteY42" fmla="*/ 824118 h 2920216"/>
              <a:gd name="connsiteX43" fmla="*/ 1510573 w 2920154"/>
              <a:gd name="connsiteY43" fmla="*/ 887083 h 2920216"/>
              <a:gd name="connsiteX44" fmla="*/ 1608541 w 2920154"/>
              <a:gd name="connsiteY44" fmla="*/ 1020115 h 2920216"/>
              <a:gd name="connsiteX45" fmla="*/ 1790649 w 2920154"/>
              <a:gd name="connsiteY45" fmla="*/ 977829 h 2920216"/>
              <a:gd name="connsiteX46" fmla="*/ 2071528 w 2920154"/>
              <a:gd name="connsiteY46" fmla="*/ 1178395 h 2920216"/>
              <a:gd name="connsiteX47" fmla="*/ 2071590 w 2920154"/>
              <a:gd name="connsiteY47" fmla="*/ 1178395 h 2920216"/>
              <a:gd name="connsiteX48" fmla="*/ 2275490 w 2920154"/>
              <a:gd name="connsiteY48" fmla="*/ 1420012 h 2920216"/>
              <a:gd name="connsiteX49" fmla="*/ 2274628 w 2920154"/>
              <a:gd name="connsiteY49" fmla="*/ 1424789 h 2920216"/>
              <a:gd name="connsiteX50" fmla="*/ 2275490 w 2920154"/>
              <a:gd name="connsiteY50" fmla="*/ 1433965 h 2920216"/>
              <a:gd name="connsiteX51" fmla="*/ 2050108 w 2920154"/>
              <a:gd name="connsiteY51" fmla="*/ 1814355 h 2920216"/>
              <a:gd name="connsiteX52" fmla="*/ 2048749 w 2920154"/>
              <a:gd name="connsiteY52" fmla="*/ 1815960 h 2920216"/>
              <a:gd name="connsiteX53" fmla="*/ 1971029 w 2920154"/>
              <a:gd name="connsiteY53" fmla="*/ 1815960 h 2920216"/>
              <a:gd name="connsiteX54" fmla="*/ 1971583 w 2920154"/>
              <a:gd name="connsiteY54" fmla="*/ 1815342 h 2920216"/>
              <a:gd name="connsiteX55" fmla="*/ 1949855 w 2920154"/>
              <a:gd name="connsiteY55" fmla="*/ 1815342 h 2920216"/>
              <a:gd name="connsiteX56" fmla="*/ 1956769 w 2920154"/>
              <a:gd name="connsiteY56" fmla="*/ 1807626 h 2920216"/>
              <a:gd name="connsiteX57" fmla="*/ 2113382 w 2920154"/>
              <a:gd name="connsiteY57" fmla="*/ 1608541 h 2920216"/>
              <a:gd name="connsiteX58" fmla="*/ 2195917 w 2920154"/>
              <a:gd name="connsiteY58" fmla="*/ 1430384 h 2920216"/>
              <a:gd name="connsiteX59" fmla="*/ 2158323 w 2920154"/>
              <a:gd name="connsiteY59" fmla="*/ 1296179 h 2920216"/>
              <a:gd name="connsiteX60" fmla="*/ 2115859 w 2920154"/>
              <a:gd name="connsiteY60" fmla="*/ 1267289 h 2920216"/>
              <a:gd name="connsiteX61" fmla="*/ 2076786 w 2920154"/>
              <a:gd name="connsiteY61" fmla="*/ 1256831 h 2920216"/>
              <a:gd name="connsiteX62" fmla="*/ 2076220 w 2920154"/>
              <a:gd name="connsiteY62" fmla="*/ 1288648 h 2920216"/>
              <a:gd name="connsiteX63" fmla="*/ 1997142 w 2920154"/>
              <a:gd name="connsiteY63" fmla="*/ 1502857 h 2920216"/>
              <a:gd name="connsiteX64" fmla="*/ 1788674 w 2920154"/>
              <a:gd name="connsiteY64" fmla="*/ 1814170 h 2920216"/>
              <a:gd name="connsiteX65" fmla="*/ 1787254 w 2920154"/>
              <a:gd name="connsiteY65" fmla="*/ 1815960 h 2920216"/>
              <a:gd name="connsiteX66" fmla="*/ 1713114 w 2920154"/>
              <a:gd name="connsiteY66" fmla="*/ 1815960 h 2920216"/>
              <a:gd name="connsiteX67" fmla="*/ 1713616 w 2920154"/>
              <a:gd name="connsiteY67" fmla="*/ 1815342 h 2920216"/>
              <a:gd name="connsiteX68" fmla="*/ 1691940 w 2920154"/>
              <a:gd name="connsiteY68" fmla="*/ 1815342 h 2920216"/>
              <a:gd name="connsiteX69" fmla="*/ 1698052 w 2920154"/>
              <a:gd name="connsiteY69" fmla="*/ 1807811 h 2920216"/>
              <a:gd name="connsiteX70" fmla="*/ 1996462 w 2920154"/>
              <a:gd name="connsiteY70" fmla="*/ 1283956 h 2920216"/>
              <a:gd name="connsiteX71" fmla="*/ 1955534 w 2920154"/>
              <a:gd name="connsiteY71" fmla="*/ 1118454 h 2920216"/>
              <a:gd name="connsiteX72" fmla="*/ 1828991 w 2920154"/>
              <a:gd name="connsiteY72" fmla="*/ 1054127 h 2920216"/>
              <a:gd name="connsiteX73" fmla="*/ 1784872 w 2920154"/>
              <a:gd name="connsiteY73" fmla="*/ 1050922 h 2920216"/>
              <a:gd name="connsiteX74" fmla="*/ 1733424 w 2920154"/>
              <a:gd name="connsiteY74" fmla="*/ 1055248 h 2920216"/>
              <a:gd name="connsiteX75" fmla="*/ 1510696 w 2920154"/>
              <a:gd name="connsiteY75" fmla="*/ 1175247 h 2920216"/>
              <a:gd name="connsiteX76" fmla="*/ 1510696 w 2920154"/>
              <a:gd name="connsiteY76" fmla="*/ 1802070 h 2920216"/>
              <a:gd name="connsiteX77" fmla="*/ 1510696 w 2920154"/>
              <a:gd name="connsiteY77" fmla="*/ 1816022 h 2920216"/>
              <a:gd name="connsiteX78" fmla="*/ 1452113 w 2920154"/>
              <a:gd name="connsiteY78" fmla="*/ 1816022 h 2920216"/>
              <a:gd name="connsiteX79" fmla="*/ 1452113 w 2920154"/>
              <a:gd name="connsiteY79" fmla="*/ 1815404 h 2920216"/>
              <a:gd name="connsiteX80" fmla="*/ 1430877 w 2920154"/>
              <a:gd name="connsiteY80" fmla="*/ 1815404 h 2920216"/>
              <a:gd name="connsiteX81" fmla="*/ 1430877 w 2920154"/>
              <a:gd name="connsiteY81" fmla="*/ 1174629 h 2920216"/>
              <a:gd name="connsiteX82" fmla="*/ 1208150 w 2920154"/>
              <a:gd name="connsiteY82" fmla="*/ 1054630 h 2920216"/>
              <a:gd name="connsiteX83" fmla="*/ 1164594 w 2920154"/>
              <a:gd name="connsiteY83" fmla="*/ 1050968 h 2920216"/>
              <a:gd name="connsiteX84" fmla="*/ 1112547 w 2920154"/>
              <a:gd name="connsiteY84" fmla="*/ 1054755 h 2920216"/>
              <a:gd name="connsiteX85" fmla="*/ 985977 w 2920154"/>
              <a:gd name="connsiteY85" fmla="*/ 1119133 h 2920216"/>
              <a:gd name="connsiteX86" fmla="*/ 943984 w 2920154"/>
              <a:gd name="connsiteY86" fmla="*/ 1225350 h 2920216"/>
              <a:gd name="connsiteX87" fmla="*/ 943405 w 2920154"/>
              <a:gd name="connsiteY87" fmla="*/ 1254778 h 2920216"/>
              <a:gd name="connsiteX88" fmla="*/ 944286 w 2920154"/>
              <a:gd name="connsiteY88" fmla="*/ 1264777 h 2920216"/>
              <a:gd name="connsiteX89" fmla="*/ 945049 w 2920154"/>
              <a:gd name="connsiteY89" fmla="*/ 1270252 h 2920216"/>
              <a:gd name="connsiteX90" fmla="*/ 1243522 w 2920154"/>
              <a:gd name="connsiteY90" fmla="*/ 1794477 h 2920216"/>
              <a:gd name="connsiteX91" fmla="*/ 1249633 w 2920154"/>
              <a:gd name="connsiteY91" fmla="*/ 1802008 h 2920216"/>
              <a:gd name="connsiteX92" fmla="*/ 1238401 w 2920154"/>
              <a:gd name="connsiteY92" fmla="*/ 1802008 h 2920216"/>
              <a:gd name="connsiteX93" fmla="*/ 1239906 w 2920154"/>
              <a:gd name="connsiteY93" fmla="*/ 1803914 h 2920216"/>
              <a:gd name="connsiteX94" fmla="*/ 1243522 w 2920154"/>
              <a:gd name="connsiteY94" fmla="*/ 1808429 h 2920216"/>
              <a:gd name="connsiteX95" fmla="*/ 1249633 w 2920154"/>
              <a:gd name="connsiteY95" fmla="*/ 1815960 h 2920216"/>
              <a:gd name="connsiteX96" fmla="*/ 1175493 w 2920154"/>
              <a:gd name="connsiteY96" fmla="*/ 1815960 h 2920216"/>
              <a:gd name="connsiteX97" fmla="*/ 1175003 w 2920154"/>
              <a:gd name="connsiteY97" fmla="*/ 1815342 h 2920216"/>
              <a:gd name="connsiteX98" fmla="*/ 1154257 w 2920154"/>
              <a:gd name="connsiteY98" fmla="*/ 1815342 h 2920216"/>
              <a:gd name="connsiteX99" fmla="*/ 1152838 w 2920154"/>
              <a:gd name="connsiteY99" fmla="*/ 1813552 h 2920216"/>
              <a:gd name="connsiteX100" fmla="*/ 944308 w 2920154"/>
              <a:gd name="connsiteY100" fmla="*/ 1502239 h 2920216"/>
              <a:gd name="connsiteX101" fmla="*/ 865292 w 2920154"/>
              <a:gd name="connsiteY101" fmla="*/ 1288031 h 2920216"/>
              <a:gd name="connsiteX102" fmla="*/ 864746 w 2920154"/>
              <a:gd name="connsiteY102" fmla="*/ 1257454 h 2920216"/>
              <a:gd name="connsiteX103" fmla="*/ 825660 w 2920154"/>
              <a:gd name="connsiteY103" fmla="*/ 1267907 h 2920216"/>
              <a:gd name="connsiteX104" fmla="*/ 783189 w 2920154"/>
              <a:gd name="connsiteY104" fmla="*/ 1296797 h 2920216"/>
              <a:gd name="connsiteX105" fmla="*/ 752848 w 2920154"/>
              <a:gd name="connsiteY105" fmla="*/ 1352556 h 2920216"/>
              <a:gd name="connsiteX106" fmla="*/ 746521 w 2920154"/>
              <a:gd name="connsiteY106" fmla="*/ 1421575 h 2920216"/>
              <a:gd name="connsiteX107" fmla="*/ 752032 w 2920154"/>
              <a:gd name="connsiteY107" fmla="*/ 1450442 h 2920216"/>
              <a:gd name="connsiteX108" fmla="*/ 828129 w 2920154"/>
              <a:gd name="connsiteY108" fmla="*/ 1595207 h 2920216"/>
              <a:gd name="connsiteX109" fmla="*/ 984743 w 2920154"/>
              <a:gd name="connsiteY109" fmla="*/ 1794291 h 2920216"/>
              <a:gd name="connsiteX110" fmla="*/ 991657 w 2920154"/>
              <a:gd name="connsiteY110" fmla="*/ 1802008 h 2920216"/>
              <a:gd name="connsiteX111" fmla="*/ 979507 w 2920154"/>
              <a:gd name="connsiteY111" fmla="*/ 1802008 h 2920216"/>
              <a:gd name="connsiteX112" fmla="*/ 984743 w 2920154"/>
              <a:gd name="connsiteY112" fmla="*/ 1808244 h 2920216"/>
              <a:gd name="connsiteX113" fmla="*/ 991657 w 2920154"/>
              <a:gd name="connsiteY113" fmla="*/ 1815960 h 2920216"/>
              <a:gd name="connsiteX114" fmla="*/ 913937 w 2920154"/>
              <a:gd name="connsiteY114" fmla="*/ 1815960 h 2920216"/>
              <a:gd name="connsiteX115" fmla="*/ 913414 w 2920154"/>
              <a:gd name="connsiteY115" fmla="*/ 1815342 h 2920216"/>
              <a:gd name="connsiteX116" fmla="*/ 892701 w 2920154"/>
              <a:gd name="connsiteY116" fmla="*/ 1815342 h 2920216"/>
              <a:gd name="connsiteX117" fmla="*/ 891342 w 2920154"/>
              <a:gd name="connsiteY117" fmla="*/ 1813737 h 2920216"/>
              <a:gd name="connsiteX118" fmla="*/ 665960 w 2920154"/>
              <a:gd name="connsiteY118" fmla="*/ 1433347 h 2920216"/>
              <a:gd name="connsiteX119" fmla="*/ 777659 w 2920154"/>
              <a:gd name="connsiteY119" fmla="*/ 1215575 h 2920216"/>
              <a:gd name="connsiteX120" fmla="*/ 782871 w 2920154"/>
              <a:gd name="connsiteY120" fmla="*/ 1214227 h 2920216"/>
              <a:gd name="connsiteX121" fmla="*/ 798895 w 2920154"/>
              <a:gd name="connsiteY121" fmla="*/ 1202240 h 2920216"/>
              <a:gd name="connsiteX122" fmla="*/ 871960 w 2920154"/>
              <a:gd name="connsiteY122" fmla="*/ 1183344 h 2920216"/>
              <a:gd name="connsiteX123" fmla="*/ 881182 w 2920154"/>
              <a:gd name="connsiteY123" fmla="*/ 1146514 h 2920216"/>
              <a:gd name="connsiteX124" fmla="*/ 958330 w 2920154"/>
              <a:gd name="connsiteY124" fmla="*/ 1043673 h 2920216"/>
              <a:gd name="connsiteX125" fmla="*/ 973769 w 2920154"/>
              <a:gd name="connsiteY125" fmla="*/ 1036532 h 2920216"/>
              <a:gd name="connsiteX126" fmla="*/ 979565 w 2920154"/>
              <a:gd name="connsiteY126" fmla="*/ 1030285 h 2920216"/>
              <a:gd name="connsiteX127" fmla="*/ 1171975 w 2920154"/>
              <a:gd name="connsiteY127" fmla="*/ 977829 h 2920216"/>
              <a:gd name="connsiteX128" fmla="*/ 1263909 w 2920154"/>
              <a:gd name="connsiteY128" fmla="*/ 988439 h 2920216"/>
              <a:gd name="connsiteX129" fmla="*/ 1334979 w 2920154"/>
              <a:gd name="connsiteY129" fmla="*/ 1013404 h 2920216"/>
              <a:gd name="connsiteX130" fmla="*/ 1337911 w 2920154"/>
              <a:gd name="connsiteY130" fmla="*/ 985744 h 2920216"/>
              <a:gd name="connsiteX131" fmla="*/ 1391583 w 2920154"/>
              <a:gd name="connsiteY131" fmla="*/ 917133 h 2920216"/>
              <a:gd name="connsiteX132" fmla="*/ 1403456 w 2920154"/>
              <a:gd name="connsiteY132" fmla="*/ 912093 h 2920216"/>
              <a:gd name="connsiteX133" fmla="*/ 1412819 w 2920154"/>
              <a:gd name="connsiteY133" fmla="*/ 903711 h 2920216"/>
              <a:gd name="connsiteX134" fmla="*/ 1430815 w 2920154"/>
              <a:gd name="connsiteY134" fmla="*/ 896084 h 2920216"/>
              <a:gd name="connsiteX135" fmla="*/ 1430815 w 2920154"/>
              <a:gd name="connsiteY135" fmla="*/ 823562 h 2920216"/>
              <a:gd name="connsiteX136" fmla="*/ 1439404 w 2920154"/>
              <a:gd name="connsiteY136" fmla="*/ 802835 h 2920216"/>
              <a:gd name="connsiteX137" fmla="*/ 1458354 w 2920154"/>
              <a:gd name="connsiteY137" fmla="*/ 794955 h 2920216"/>
              <a:gd name="connsiteX138" fmla="*/ 1460640 w 2920154"/>
              <a:gd name="connsiteY138" fmla="*/ 789439 h 2920216"/>
              <a:gd name="connsiteX139" fmla="*/ 1481312 w 2920154"/>
              <a:gd name="connsiteY139" fmla="*/ 780843 h 2920216"/>
              <a:gd name="connsiteX140" fmla="*/ 1555329 w 2920154"/>
              <a:gd name="connsiteY140" fmla="*/ 706642 h 2920216"/>
              <a:gd name="connsiteX141" fmla="*/ 1654161 w 2920154"/>
              <a:gd name="connsiteY141" fmla="*/ 706642 h 2920216"/>
              <a:gd name="connsiteX142" fmla="*/ 1683483 w 2920154"/>
              <a:gd name="connsiteY142" fmla="*/ 735965 h 2920216"/>
              <a:gd name="connsiteX143" fmla="*/ 1680590 w 2920154"/>
              <a:gd name="connsiteY143" fmla="*/ 742940 h 2920216"/>
              <a:gd name="connsiteX144" fmla="*/ 1683483 w 2920154"/>
              <a:gd name="connsiteY144" fmla="*/ 749915 h 2920216"/>
              <a:gd name="connsiteX145" fmla="*/ 1654161 w 2920154"/>
              <a:gd name="connsiteY145" fmla="*/ 779238 h 2920216"/>
              <a:gd name="connsiteX146" fmla="*/ 1555329 w 2920154"/>
              <a:gd name="connsiteY146" fmla="*/ 779238 h 2920216"/>
              <a:gd name="connsiteX147" fmla="*/ 1553841 w 2920154"/>
              <a:gd name="connsiteY147" fmla="*/ 778621 h 2920216"/>
              <a:gd name="connsiteX148" fmla="*/ 1534093 w 2920154"/>
              <a:gd name="connsiteY148" fmla="*/ 778621 h 2920216"/>
              <a:gd name="connsiteX149" fmla="*/ 1504770 w 2920154"/>
              <a:gd name="connsiteY149" fmla="*/ 749299 h 2920216"/>
              <a:gd name="connsiteX150" fmla="*/ 1513366 w 2920154"/>
              <a:gd name="connsiteY150" fmla="*/ 728572 h 2920216"/>
              <a:gd name="connsiteX151" fmla="*/ 1532335 w 2920154"/>
              <a:gd name="connsiteY151" fmla="*/ 720705 h 2920216"/>
              <a:gd name="connsiteX152" fmla="*/ 1534602 w 2920154"/>
              <a:gd name="connsiteY152" fmla="*/ 715238 h 2920216"/>
              <a:gd name="connsiteX153" fmla="*/ 1555329 w 2920154"/>
              <a:gd name="connsiteY153" fmla="*/ 706642 h 2920216"/>
              <a:gd name="connsiteX154" fmla="*/ 1308526 w 2920154"/>
              <a:gd name="connsiteY154" fmla="*/ 706642 h 2920216"/>
              <a:gd name="connsiteX155" fmla="*/ 1407358 w 2920154"/>
              <a:gd name="connsiteY155" fmla="*/ 706642 h 2920216"/>
              <a:gd name="connsiteX156" fmla="*/ 1436680 w 2920154"/>
              <a:gd name="connsiteY156" fmla="*/ 735965 h 2920216"/>
              <a:gd name="connsiteX157" fmla="*/ 1433787 w 2920154"/>
              <a:gd name="connsiteY157" fmla="*/ 742940 h 2920216"/>
              <a:gd name="connsiteX158" fmla="*/ 1436680 w 2920154"/>
              <a:gd name="connsiteY158" fmla="*/ 749915 h 2920216"/>
              <a:gd name="connsiteX159" fmla="*/ 1407358 w 2920154"/>
              <a:gd name="connsiteY159" fmla="*/ 779238 h 2920216"/>
              <a:gd name="connsiteX160" fmla="*/ 1308526 w 2920154"/>
              <a:gd name="connsiteY160" fmla="*/ 779238 h 2920216"/>
              <a:gd name="connsiteX161" fmla="*/ 1307039 w 2920154"/>
              <a:gd name="connsiteY161" fmla="*/ 778621 h 2920216"/>
              <a:gd name="connsiteX162" fmla="*/ 1287290 w 2920154"/>
              <a:gd name="connsiteY162" fmla="*/ 778621 h 2920216"/>
              <a:gd name="connsiteX163" fmla="*/ 1257967 w 2920154"/>
              <a:gd name="connsiteY163" fmla="*/ 749299 h 2920216"/>
              <a:gd name="connsiteX164" fmla="*/ 1266563 w 2920154"/>
              <a:gd name="connsiteY164" fmla="*/ 728572 h 2920216"/>
              <a:gd name="connsiteX165" fmla="*/ 1285532 w 2920154"/>
              <a:gd name="connsiteY165" fmla="*/ 720705 h 2920216"/>
              <a:gd name="connsiteX166" fmla="*/ 1287799 w 2920154"/>
              <a:gd name="connsiteY166" fmla="*/ 715238 h 2920216"/>
              <a:gd name="connsiteX167" fmla="*/ 1308526 w 2920154"/>
              <a:gd name="connsiteY167" fmla="*/ 706642 h 2920216"/>
              <a:gd name="connsiteX168" fmla="*/ 1481313 w 2920154"/>
              <a:gd name="connsiteY168" fmla="*/ 533608 h 2920216"/>
              <a:gd name="connsiteX169" fmla="*/ 1510635 w 2920154"/>
              <a:gd name="connsiteY169" fmla="*/ 562931 h 2920216"/>
              <a:gd name="connsiteX170" fmla="*/ 1510635 w 2920154"/>
              <a:gd name="connsiteY170" fmla="*/ 576882 h 2920216"/>
              <a:gd name="connsiteX171" fmla="*/ 1510635 w 2920154"/>
              <a:gd name="connsiteY171" fmla="*/ 661639 h 2920216"/>
              <a:gd name="connsiteX172" fmla="*/ 1510635 w 2920154"/>
              <a:gd name="connsiteY172" fmla="*/ 675590 h 2920216"/>
              <a:gd name="connsiteX173" fmla="*/ 1481313 w 2920154"/>
              <a:gd name="connsiteY173" fmla="*/ 704913 h 2920216"/>
              <a:gd name="connsiteX174" fmla="*/ 1469951 w 2920154"/>
              <a:gd name="connsiteY174" fmla="*/ 700201 h 2920216"/>
              <a:gd name="connsiteX175" fmla="*/ 1460077 w 2920154"/>
              <a:gd name="connsiteY175" fmla="*/ 704296 h 2920216"/>
              <a:gd name="connsiteX176" fmla="*/ 1430754 w 2920154"/>
              <a:gd name="connsiteY176" fmla="*/ 674973 h 2920216"/>
              <a:gd name="connsiteX177" fmla="*/ 1430754 w 2920154"/>
              <a:gd name="connsiteY177" fmla="*/ 576265 h 2920216"/>
              <a:gd name="connsiteX178" fmla="*/ 1439350 w 2920154"/>
              <a:gd name="connsiteY178" fmla="*/ 555538 h 2920216"/>
              <a:gd name="connsiteX179" fmla="*/ 1458319 w 2920154"/>
              <a:gd name="connsiteY179" fmla="*/ 547671 h 2920216"/>
              <a:gd name="connsiteX180" fmla="*/ 1460586 w 2920154"/>
              <a:gd name="connsiteY180" fmla="*/ 542204 h 2920216"/>
              <a:gd name="connsiteX181" fmla="*/ 1481313 w 2920154"/>
              <a:gd name="connsiteY181" fmla="*/ 533608 h 2920216"/>
              <a:gd name="connsiteX182" fmla="*/ 1460077 w 2920154"/>
              <a:gd name="connsiteY182" fmla="*/ 74078 h 2920216"/>
              <a:gd name="connsiteX183" fmla="*/ 480025 w 2920154"/>
              <a:gd name="connsiteY183" fmla="*/ 480025 h 2920216"/>
              <a:gd name="connsiteX184" fmla="*/ 74078 w 2920154"/>
              <a:gd name="connsiteY184" fmla="*/ 1460139 h 2920216"/>
              <a:gd name="connsiteX185" fmla="*/ 480025 w 2920154"/>
              <a:gd name="connsiteY185" fmla="*/ 2440190 h 2920216"/>
              <a:gd name="connsiteX186" fmla="*/ 1460077 w 2920154"/>
              <a:gd name="connsiteY186" fmla="*/ 2846138 h 2920216"/>
              <a:gd name="connsiteX187" fmla="*/ 2440129 w 2920154"/>
              <a:gd name="connsiteY187" fmla="*/ 2440190 h 2920216"/>
              <a:gd name="connsiteX188" fmla="*/ 2846076 w 2920154"/>
              <a:gd name="connsiteY188" fmla="*/ 1460139 h 2920216"/>
              <a:gd name="connsiteX189" fmla="*/ 2440129 w 2920154"/>
              <a:gd name="connsiteY189" fmla="*/ 480087 h 2920216"/>
              <a:gd name="connsiteX190" fmla="*/ 1460077 w 2920154"/>
              <a:gd name="connsiteY190" fmla="*/ 74078 h 2920216"/>
              <a:gd name="connsiteX191" fmla="*/ 1460077 w 2920154"/>
              <a:gd name="connsiteY191" fmla="*/ 0 h 2920216"/>
              <a:gd name="connsiteX192" fmla="*/ 2492477 w 2920154"/>
              <a:gd name="connsiteY192" fmla="*/ 427677 h 2920216"/>
              <a:gd name="connsiteX193" fmla="*/ 2920154 w 2920154"/>
              <a:gd name="connsiteY193" fmla="*/ 1460139 h 2920216"/>
              <a:gd name="connsiteX194" fmla="*/ 2492477 w 2920154"/>
              <a:gd name="connsiteY194" fmla="*/ 2492601 h 2920216"/>
              <a:gd name="connsiteX195" fmla="*/ 1460077 w 2920154"/>
              <a:gd name="connsiteY195" fmla="*/ 2920216 h 2920216"/>
              <a:gd name="connsiteX196" fmla="*/ 1460077 w 2920154"/>
              <a:gd name="connsiteY196" fmla="*/ 2920154 h 2920216"/>
              <a:gd name="connsiteX197" fmla="*/ 427615 w 2920154"/>
              <a:gd name="connsiteY197" fmla="*/ 2492539 h 2920216"/>
              <a:gd name="connsiteX198" fmla="*/ 0 w 2920154"/>
              <a:gd name="connsiteY198" fmla="*/ 1460139 h 2920216"/>
              <a:gd name="connsiteX199" fmla="*/ 427677 w 2920154"/>
              <a:gd name="connsiteY199" fmla="*/ 427677 h 2920216"/>
              <a:gd name="connsiteX200" fmla="*/ 1460077 w 2920154"/>
              <a:gd name="connsiteY200" fmla="*/ 0 h 292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920154" h="2920216">
                <a:moveTo>
                  <a:pt x="908875" y="2064244"/>
                </a:moveTo>
                <a:lnTo>
                  <a:pt x="2053750" y="2064244"/>
                </a:lnTo>
                <a:lnTo>
                  <a:pt x="2053750" y="2078196"/>
                </a:lnTo>
                <a:lnTo>
                  <a:pt x="2053750" y="2122889"/>
                </a:lnTo>
                <a:lnTo>
                  <a:pt x="2053750" y="2136841"/>
                </a:lnTo>
                <a:lnTo>
                  <a:pt x="908875" y="2136841"/>
                </a:lnTo>
                <a:lnTo>
                  <a:pt x="908875" y="2136223"/>
                </a:lnTo>
                <a:lnTo>
                  <a:pt x="887639" y="2136223"/>
                </a:lnTo>
                <a:lnTo>
                  <a:pt x="887639" y="2077578"/>
                </a:lnTo>
                <a:lnTo>
                  <a:pt x="908875" y="2077578"/>
                </a:lnTo>
                <a:close/>
                <a:moveTo>
                  <a:pt x="908875" y="1965535"/>
                </a:moveTo>
                <a:lnTo>
                  <a:pt x="2053750" y="1965535"/>
                </a:lnTo>
                <a:lnTo>
                  <a:pt x="2053750" y="1979487"/>
                </a:lnTo>
                <a:lnTo>
                  <a:pt x="2053750" y="2024180"/>
                </a:lnTo>
                <a:lnTo>
                  <a:pt x="2053750" y="2038132"/>
                </a:lnTo>
                <a:lnTo>
                  <a:pt x="908875" y="2038132"/>
                </a:lnTo>
                <a:lnTo>
                  <a:pt x="908875" y="2037514"/>
                </a:lnTo>
                <a:lnTo>
                  <a:pt x="887639" y="2037514"/>
                </a:lnTo>
                <a:lnTo>
                  <a:pt x="887639" y="1978869"/>
                </a:lnTo>
                <a:lnTo>
                  <a:pt x="908875" y="1978869"/>
                </a:lnTo>
                <a:close/>
                <a:moveTo>
                  <a:pt x="908875" y="1866826"/>
                </a:moveTo>
                <a:lnTo>
                  <a:pt x="2053750" y="1866826"/>
                </a:lnTo>
                <a:lnTo>
                  <a:pt x="2053750" y="1880778"/>
                </a:lnTo>
                <a:lnTo>
                  <a:pt x="2053750" y="1925471"/>
                </a:lnTo>
                <a:lnTo>
                  <a:pt x="2053750" y="1939423"/>
                </a:lnTo>
                <a:lnTo>
                  <a:pt x="908875" y="1939423"/>
                </a:lnTo>
                <a:lnTo>
                  <a:pt x="908875" y="1938805"/>
                </a:lnTo>
                <a:lnTo>
                  <a:pt x="887639" y="1938805"/>
                </a:lnTo>
                <a:lnTo>
                  <a:pt x="887639" y="1880160"/>
                </a:lnTo>
                <a:lnTo>
                  <a:pt x="908875" y="1880160"/>
                </a:lnTo>
                <a:close/>
                <a:moveTo>
                  <a:pt x="1474198" y="954491"/>
                </a:moveTo>
                <a:lnTo>
                  <a:pt x="1440416" y="964842"/>
                </a:lnTo>
                <a:cubicBezTo>
                  <a:pt x="1428701" y="972775"/>
                  <a:pt x="1419387" y="984006"/>
                  <a:pt x="1413811" y="997197"/>
                </a:cubicBezTo>
                <a:lnTo>
                  <a:pt x="1409446" y="1018819"/>
                </a:lnTo>
                <a:lnTo>
                  <a:pt x="1413811" y="1040441"/>
                </a:lnTo>
                <a:cubicBezTo>
                  <a:pt x="1424963" y="1066822"/>
                  <a:pt x="1451064" y="1085365"/>
                  <a:pt x="1481436" y="1085365"/>
                </a:cubicBezTo>
                <a:lnTo>
                  <a:pt x="1513081" y="1075668"/>
                </a:lnTo>
                <a:lnTo>
                  <a:pt x="1527824" y="1053775"/>
                </a:lnTo>
                <a:cubicBezTo>
                  <a:pt x="1531542" y="1044981"/>
                  <a:pt x="1533598" y="1035316"/>
                  <a:pt x="1533598" y="1025177"/>
                </a:cubicBezTo>
                <a:cubicBezTo>
                  <a:pt x="1533598" y="994758"/>
                  <a:pt x="1515091" y="968612"/>
                  <a:pt x="1488753" y="957439"/>
                </a:cubicBezTo>
                <a:close/>
                <a:moveTo>
                  <a:pt x="1481312" y="780843"/>
                </a:moveTo>
                <a:cubicBezTo>
                  <a:pt x="1497424" y="780843"/>
                  <a:pt x="1510573" y="793992"/>
                  <a:pt x="1510573" y="810166"/>
                </a:cubicBezTo>
                <a:lnTo>
                  <a:pt x="1510573" y="824118"/>
                </a:lnTo>
                <a:lnTo>
                  <a:pt x="1510573" y="887083"/>
                </a:lnTo>
                <a:cubicBezTo>
                  <a:pt x="1565267" y="900047"/>
                  <a:pt x="1614591" y="951901"/>
                  <a:pt x="1608541" y="1020115"/>
                </a:cubicBezTo>
                <a:cubicBezTo>
                  <a:pt x="1667803" y="992027"/>
                  <a:pt x="1729041" y="977829"/>
                  <a:pt x="1790649" y="977829"/>
                </a:cubicBezTo>
                <a:cubicBezTo>
                  <a:pt x="1949300" y="977829"/>
                  <a:pt x="2051466" y="1050919"/>
                  <a:pt x="2071528" y="1178395"/>
                </a:cubicBezTo>
                <a:lnTo>
                  <a:pt x="2071590" y="1178395"/>
                </a:lnTo>
                <a:cubicBezTo>
                  <a:pt x="2212215" y="1193210"/>
                  <a:pt x="2282712" y="1276672"/>
                  <a:pt x="2275490" y="1420012"/>
                </a:cubicBezTo>
                <a:lnTo>
                  <a:pt x="2274628" y="1424789"/>
                </a:lnTo>
                <a:lnTo>
                  <a:pt x="2275490" y="1433965"/>
                </a:lnTo>
                <a:cubicBezTo>
                  <a:pt x="2269996" y="1543168"/>
                  <a:pt x="2131902" y="1719165"/>
                  <a:pt x="2050108" y="1814355"/>
                </a:cubicBezTo>
                <a:lnTo>
                  <a:pt x="2048749" y="1815960"/>
                </a:lnTo>
                <a:lnTo>
                  <a:pt x="1971029" y="1815960"/>
                </a:lnTo>
                <a:lnTo>
                  <a:pt x="1971583" y="1815342"/>
                </a:lnTo>
                <a:lnTo>
                  <a:pt x="1949855" y="1815342"/>
                </a:lnTo>
                <a:lnTo>
                  <a:pt x="1956769" y="1807626"/>
                </a:lnTo>
                <a:cubicBezTo>
                  <a:pt x="2014920" y="1742807"/>
                  <a:pt x="2072022" y="1670211"/>
                  <a:pt x="2113382" y="1608541"/>
                </a:cubicBezTo>
                <a:cubicBezTo>
                  <a:pt x="2165422" y="1531006"/>
                  <a:pt x="2193942" y="1469398"/>
                  <a:pt x="2195917" y="1430384"/>
                </a:cubicBezTo>
                <a:cubicBezTo>
                  <a:pt x="2198881" y="1370751"/>
                  <a:pt x="2186225" y="1325563"/>
                  <a:pt x="2158323" y="1296179"/>
                </a:cubicBezTo>
                <a:cubicBezTo>
                  <a:pt x="2147211" y="1284450"/>
                  <a:pt x="2133013" y="1274804"/>
                  <a:pt x="2115859" y="1267289"/>
                </a:cubicBezTo>
                <a:lnTo>
                  <a:pt x="2076786" y="1256831"/>
                </a:lnTo>
                <a:lnTo>
                  <a:pt x="2076220" y="1288648"/>
                </a:lnTo>
                <a:cubicBezTo>
                  <a:pt x="2071343" y="1343096"/>
                  <a:pt x="2044737" y="1415136"/>
                  <a:pt x="1997142" y="1502857"/>
                </a:cubicBezTo>
                <a:cubicBezTo>
                  <a:pt x="1973992" y="1545575"/>
                  <a:pt x="1907199" y="1661446"/>
                  <a:pt x="1788674" y="1814170"/>
                </a:cubicBezTo>
                <a:lnTo>
                  <a:pt x="1787254" y="1815960"/>
                </a:lnTo>
                <a:lnTo>
                  <a:pt x="1713114" y="1815960"/>
                </a:lnTo>
                <a:lnTo>
                  <a:pt x="1713616" y="1815342"/>
                </a:lnTo>
                <a:lnTo>
                  <a:pt x="1691940" y="1815342"/>
                </a:lnTo>
                <a:lnTo>
                  <a:pt x="1698052" y="1807811"/>
                </a:lnTo>
                <a:cubicBezTo>
                  <a:pt x="1700891" y="1804354"/>
                  <a:pt x="1978869" y="1460323"/>
                  <a:pt x="1996462" y="1283956"/>
                </a:cubicBezTo>
                <a:cubicBezTo>
                  <a:pt x="1997141" y="1279635"/>
                  <a:pt x="2012266" y="1185494"/>
                  <a:pt x="1955534" y="1118454"/>
                </a:cubicBezTo>
                <a:cubicBezTo>
                  <a:pt x="1926644" y="1084285"/>
                  <a:pt x="1884211" y="1062756"/>
                  <a:pt x="1828991" y="1054127"/>
                </a:cubicBezTo>
                <a:lnTo>
                  <a:pt x="1784872" y="1050922"/>
                </a:lnTo>
                <a:lnTo>
                  <a:pt x="1733424" y="1055248"/>
                </a:lnTo>
                <a:cubicBezTo>
                  <a:pt x="1605628" y="1076791"/>
                  <a:pt x="1521391" y="1163688"/>
                  <a:pt x="1510696" y="1175247"/>
                </a:cubicBezTo>
                <a:lnTo>
                  <a:pt x="1510696" y="1802070"/>
                </a:lnTo>
                <a:lnTo>
                  <a:pt x="1510696" y="1816022"/>
                </a:lnTo>
                <a:lnTo>
                  <a:pt x="1452113" y="1816022"/>
                </a:lnTo>
                <a:lnTo>
                  <a:pt x="1452113" y="1815404"/>
                </a:lnTo>
                <a:lnTo>
                  <a:pt x="1430877" y="1815404"/>
                </a:lnTo>
                <a:lnTo>
                  <a:pt x="1430877" y="1174629"/>
                </a:lnTo>
                <a:cubicBezTo>
                  <a:pt x="1420182" y="1163070"/>
                  <a:pt x="1335946" y="1076173"/>
                  <a:pt x="1208150" y="1054630"/>
                </a:cubicBezTo>
                <a:lnTo>
                  <a:pt x="1164594" y="1050968"/>
                </a:lnTo>
                <a:lnTo>
                  <a:pt x="1112547" y="1054755"/>
                </a:lnTo>
                <a:cubicBezTo>
                  <a:pt x="1057301" y="1063401"/>
                  <a:pt x="1014868" y="1084964"/>
                  <a:pt x="985977" y="1119133"/>
                </a:cubicBezTo>
                <a:cubicBezTo>
                  <a:pt x="957612" y="1152684"/>
                  <a:pt x="947210" y="1192964"/>
                  <a:pt x="943984" y="1225350"/>
                </a:cubicBezTo>
                <a:lnTo>
                  <a:pt x="943405" y="1254778"/>
                </a:lnTo>
                <a:lnTo>
                  <a:pt x="944286" y="1264777"/>
                </a:lnTo>
                <a:cubicBezTo>
                  <a:pt x="944654" y="1267857"/>
                  <a:pt x="944964" y="1269758"/>
                  <a:pt x="945049" y="1270252"/>
                </a:cubicBezTo>
                <a:cubicBezTo>
                  <a:pt x="962704" y="1447051"/>
                  <a:pt x="1240744" y="1791020"/>
                  <a:pt x="1243522" y="1794477"/>
                </a:cubicBezTo>
                <a:lnTo>
                  <a:pt x="1249633" y="1802008"/>
                </a:lnTo>
                <a:lnTo>
                  <a:pt x="1238401" y="1802008"/>
                </a:lnTo>
                <a:lnTo>
                  <a:pt x="1239906" y="1803914"/>
                </a:lnTo>
                <a:cubicBezTo>
                  <a:pt x="1242100" y="1806667"/>
                  <a:pt x="1243349" y="1808213"/>
                  <a:pt x="1243522" y="1808429"/>
                </a:cubicBezTo>
                <a:lnTo>
                  <a:pt x="1249633" y="1815960"/>
                </a:lnTo>
                <a:lnTo>
                  <a:pt x="1175493" y="1815960"/>
                </a:lnTo>
                <a:lnTo>
                  <a:pt x="1175003" y="1815342"/>
                </a:lnTo>
                <a:lnTo>
                  <a:pt x="1154257" y="1815342"/>
                </a:lnTo>
                <a:lnTo>
                  <a:pt x="1152838" y="1813552"/>
                </a:lnTo>
                <a:cubicBezTo>
                  <a:pt x="1034251" y="1660828"/>
                  <a:pt x="967519" y="1544958"/>
                  <a:pt x="944308" y="1502239"/>
                </a:cubicBezTo>
                <a:cubicBezTo>
                  <a:pt x="896713" y="1414519"/>
                  <a:pt x="870107" y="1342416"/>
                  <a:pt x="865292" y="1288031"/>
                </a:cubicBezTo>
                <a:lnTo>
                  <a:pt x="864746" y="1257454"/>
                </a:lnTo>
                <a:lnTo>
                  <a:pt x="825660" y="1267907"/>
                </a:lnTo>
                <a:cubicBezTo>
                  <a:pt x="808499" y="1275422"/>
                  <a:pt x="794301" y="1285068"/>
                  <a:pt x="783189" y="1296797"/>
                </a:cubicBezTo>
                <a:cubicBezTo>
                  <a:pt x="769238" y="1311489"/>
                  <a:pt x="759114" y="1330132"/>
                  <a:pt x="752848" y="1352556"/>
                </a:cubicBezTo>
                <a:lnTo>
                  <a:pt x="746521" y="1421575"/>
                </a:lnTo>
                <a:lnTo>
                  <a:pt x="752032" y="1450442"/>
                </a:lnTo>
                <a:cubicBezTo>
                  <a:pt x="763300" y="1487863"/>
                  <a:pt x="789100" y="1537056"/>
                  <a:pt x="828129" y="1595207"/>
                </a:cubicBezTo>
                <a:cubicBezTo>
                  <a:pt x="869551" y="1656877"/>
                  <a:pt x="926592" y="1729473"/>
                  <a:pt x="984743" y="1794291"/>
                </a:cubicBezTo>
                <a:lnTo>
                  <a:pt x="991657" y="1802008"/>
                </a:lnTo>
                <a:lnTo>
                  <a:pt x="979507" y="1802008"/>
                </a:lnTo>
                <a:lnTo>
                  <a:pt x="984743" y="1808244"/>
                </a:lnTo>
                <a:lnTo>
                  <a:pt x="991657" y="1815960"/>
                </a:lnTo>
                <a:lnTo>
                  <a:pt x="913937" y="1815960"/>
                </a:lnTo>
                <a:lnTo>
                  <a:pt x="913414" y="1815342"/>
                </a:lnTo>
                <a:lnTo>
                  <a:pt x="892701" y="1815342"/>
                </a:lnTo>
                <a:lnTo>
                  <a:pt x="891342" y="1813737"/>
                </a:lnTo>
                <a:cubicBezTo>
                  <a:pt x="809548" y="1718547"/>
                  <a:pt x="671454" y="1542550"/>
                  <a:pt x="665960" y="1433347"/>
                </a:cubicBezTo>
                <a:cubicBezTo>
                  <a:pt x="660544" y="1325841"/>
                  <a:pt x="698844" y="1252018"/>
                  <a:pt x="777659" y="1215575"/>
                </a:cubicBezTo>
                <a:lnTo>
                  <a:pt x="782871" y="1214227"/>
                </a:lnTo>
                <a:lnTo>
                  <a:pt x="798895" y="1202240"/>
                </a:lnTo>
                <a:lnTo>
                  <a:pt x="871960" y="1183344"/>
                </a:lnTo>
                <a:lnTo>
                  <a:pt x="881182" y="1146514"/>
                </a:lnTo>
                <a:cubicBezTo>
                  <a:pt x="896253" y="1103924"/>
                  <a:pt x="922419" y="1069317"/>
                  <a:pt x="958330" y="1043673"/>
                </a:cubicBezTo>
                <a:lnTo>
                  <a:pt x="973769" y="1036532"/>
                </a:lnTo>
                <a:lnTo>
                  <a:pt x="979565" y="1030285"/>
                </a:lnTo>
                <a:cubicBezTo>
                  <a:pt x="1027446" y="996086"/>
                  <a:pt x="1092650" y="977829"/>
                  <a:pt x="1171975" y="977829"/>
                </a:cubicBezTo>
                <a:cubicBezTo>
                  <a:pt x="1202779" y="977829"/>
                  <a:pt x="1233491" y="981378"/>
                  <a:pt x="1263909" y="988439"/>
                </a:cubicBezTo>
                <a:lnTo>
                  <a:pt x="1334979" y="1013404"/>
                </a:lnTo>
                <a:lnTo>
                  <a:pt x="1337911" y="985744"/>
                </a:lnTo>
                <a:cubicBezTo>
                  <a:pt x="1347167" y="956426"/>
                  <a:pt x="1367141" y="932624"/>
                  <a:pt x="1391583" y="917133"/>
                </a:cubicBezTo>
                <a:lnTo>
                  <a:pt x="1403456" y="912093"/>
                </a:lnTo>
                <a:lnTo>
                  <a:pt x="1412819" y="903711"/>
                </a:lnTo>
                <a:lnTo>
                  <a:pt x="1430815" y="896084"/>
                </a:lnTo>
                <a:lnTo>
                  <a:pt x="1430815" y="823562"/>
                </a:lnTo>
                <a:cubicBezTo>
                  <a:pt x="1430815" y="815475"/>
                  <a:pt x="1434102" y="808144"/>
                  <a:pt x="1439404" y="802835"/>
                </a:cubicBezTo>
                <a:lnTo>
                  <a:pt x="1458354" y="794955"/>
                </a:lnTo>
                <a:lnTo>
                  <a:pt x="1460640" y="789439"/>
                </a:lnTo>
                <a:cubicBezTo>
                  <a:pt x="1465941" y="784130"/>
                  <a:pt x="1473256" y="780843"/>
                  <a:pt x="1481312" y="780843"/>
                </a:cubicBezTo>
                <a:close/>
                <a:moveTo>
                  <a:pt x="1555329" y="706642"/>
                </a:moveTo>
                <a:lnTo>
                  <a:pt x="1654161" y="706642"/>
                </a:lnTo>
                <a:cubicBezTo>
                  <a:pt x="1670335" y="706642"/>
                  <a:pt x="1683483" y="719791"/>
                  <a:pt x="1683483" y="735965"/>
                </a:cubicBezTo>
                <a:lnTo>
                  <a:pt x="1680590" y="742940"/>
                </a:lnTo>
                <a:lnTo>
                  <a:pt x="1683483" y="749915"/>
                </a:lnTo>
                <a:cubicBezTo>
                  <a:pt x="1683483" y="766089"/>
                  <a:pt x="1670335" y="779238"/>
                  <a:pt x="1654161" y="779238"/>
                </a:cubicBezTo>
                <a:lnTo>
                  <a:pt x="1555329" y="779238"/>
                </a:lnTo>
                <a:lnTo>
                  <a:pt x="1553841" y="778621"/>
                </a:lnTo>
                <a:lnTo>
                  <a:pt x="1534093" y="778621"/>
                </a:lnTo>
                <a:cubicBezTo>
                  <a:pt x="1517919" y="778621"/>
                  <a:pt x="1504770" y="765472"/>
                  <a:pt x="1504770" y="749299"/>
                </a:cubicBezTo>
                <a:cubicBezTo>
                  <a:pt x="1504770" y="741212"/>
                  <a:pt x="1508057" y="733881"/>
                  <a:pt x="1513366" y="728572"/>
                </a:cubicBezTo>
                <a:lnTo>
                  <a:pt x="1532335" y="720705"/>
                </a:lnTo>
                <a:lnTo>
                  <a:pt x="1534602" y="715238"/>
                </a:lnTo>
                <a:cubicBezTo>
                  <a:pt x="1539911" y="709929"/>
                  <a:pt x="1547242" y="706642"/>
                  <a:pt x="1555329" y="706642"/>
                </a:cubicBezTo>
                <a:close/>
                <a:moveTo>
                  <a:pt x="1308526" y="706642"/>
                </a:moveTo>
                <a:lnTo>
                  <a:pt x="1407358" y="706642"/>
                </a:lnTo>
                <a:cubicBezTo>
                  <a:pt x="1423532" y="706642"/>
                  <a:pt x="1436680" y="719791"/>
                  <a:pt x="1436680" y="735965"/>
                </a:cubicBezTo>
                <a:lnTo>
                  <a:pt x="1433787" y="742940"/>
                </a:lnTo>
                <a:lnTo>
                  <a:pt x="1436680" y="749915"/>
                </a:lnTo>
                <a:cubicBezTo>
                  <a:pt x="1436680" y="766089"/>
                  <a:pt x="1423532" y="779238"/>
                  <a:pt x="1407358" y="779238"/>
                </a:cubicBezTo>
                <a:lnTo>
                  <a:pt x="1308526" y="779238"/>
                </a:lnTo>
                <a:lnTo>
                  <a:pt x="1307039" y="778621"/>
                </a:lnTo>
                <a:lnTo>
                  <a:pt x="1287290" y="778621"/>
                </a:lnTo>
                <a:cubicBezTo>
                  <a:pt x="1271116" y="778621"/>
                  <a:pt x="1257967" y="765472"/>
                  <a:pt x="1257967" y="749299"/>
                </a:cubicBezTo>
                <a:cubicBezTo>
                  <a:pt x="1257967" y="741212"/>
                  <a:pt x="1261254" y="733881"/>
                  <a:pt x="1266563" y="728572"/>
                </a:cubicBezTo>
                <a:lnTo>
                  <a:pt x="1285532" y="720705"/>
                </a:lnTo>
                <a:lnTo>
                  <a:pt x="1287799" y="715238"/>
                </a:lnTo>
                <a:cubicBezTo>
                  <a:pt x="1293108" y="709929"/>
                  <a:pt x="1300439" y="706642"/>
                  <a:pt x="1308526" y="706642"/>
                </a:cubicBezTo>
                <a:close/>
                <a:moveTo>
                  <a:pt x="1481313" y="533608"/>
                </a:moveTo>
                <a:cubicBezTo>
                  <a:pt x="1497486" y="533608"/>
                  <a:pt x="1510635" y="546757"/>
                  <a:pt x="1510635" y="562931"/>
                </a:cubicBezTo>
                <a:lnTo>
                  <a:pt x="1510635" y="576882"/>
                </a:lnTo>
                <a:lnTo>
                  <a:pt x="1510635" y="661639"/>
                </a:lnTo>
                <a:lnTo>
                  <a:pt x="1510635" y="675590"/>
                </a:lnTo>
                <a:cubicBezTo>
                  <a:pt x="1510635" y="691764"/>
                  <a:pt x="1497486" y="704913"/>
                  <a:pt x="1481313" y="704913"/>
                </a:cubicBezTo>
                <a:lnTo>
                  <a:pt x="1469951" y="700201"/>
                </a:lnTo>
                <a:lnTo>
                  <a:pt x="1460077" y="704296"/>
                </a:lnTo>
                <a:cubicBezTo>
                  <a:pt x="1443903" y="704296"/>
                  <a:pt x="1430754" y="691147"/>
                  <a:pt x="1430754" y="674973"/>
                </a:cubicBezTo>
                <a:lnTo>
                  <a:pt x="1430754" y="576265"/>
                </a:lnTo>
                <a:cubicBezTo>
                  <a:pt x="1430754" y="568178"/>
                  <a:pt x="1434041" y="560847"/>
                  <a:pt x="1439350" y="555538"/>
                </a:cubicBezTo>
                <a:lnTo>
                  <a:pt x="1458319" y="547671"/>
                </a:lnTo>
                <a:lnTo>
                  <a:pt x="1460586" y="542204"/>
                </a:lnTo>
                <a:cubicBezTo>
                  <a:pt x="1465895" y="536895"/>
                  <a:pt x="1473226" y="533608"/>
                  <a:pt x="1481313" y="533608"/>
                </a:cubicBezTo>
                <a:close/>
                <a:moveTo>
                  <a:pt x="1460077" y="74078"/>
                </a:moveTo>
                <a:cubicBezTo>
                  <a:pt x="1089872" y="74078"/>
                  <a:pt x="741829" y="218221"/>
                  <a:pt x="480025" y="480025"/>
                </a:cubicBezTo>
                <a:cubicBezTo>
                  <a:pt x="218283" y="741829"/>
                  <a:pt x="74078" y="1089872"/>
                  <a:pt x="74078" y="1460139"/>
                </a:cubicBezTo>
                <a:cubicBezTo>
                  <a:pt x="74078" y="1830405"/>
                  <a:pt x="218221" y="2178386"/>
                  <a:pt x="480025" y="2440190"/>
                </a:cubicBezTo>
                <a:cubicBezTo>
                  <a:pt x="741829" y="2701933"/>
                  <a:pt x="1089872" y="2846138"/>
                  <a:pt x="1460077" y="2846138"/>
                </a:cubicBezTo>
                <a:cubicBezTo>
                  <a:pt x="1830282" y="2846138"/>
                  <a:pt x="2178325" y="2701994"/>
                  <a:pt x="2440129" y="2440190"/>
                </a:cubicBezTo>
                <a:cubicBezTo>
                  <a:pt x="2701933" y="2178386"/>
                  <a:pt x="2846076" y="1830344"/>
                  <a:pt x="2846076" y="1460139"/>
                </a:cubicBezTo>
                <a:cubicBezTo>
                  <a:pt x="2846076" y="1089934"/>
                  <a:pt x="2701933" y="741829"/>
                  <a:pt x="2440129" y="480087"/>
                </a:cubicBezTo>
                <a:cubicBezTo>
                  <a:pt x="2178325" y="218345"/>
                  <a:pt x="1830282" y="74078"/>
                  <a:pt x="1460077" y="74078"/>
                </a:cubicBezTo>
                <a:close/>
                <a:moveTo>
                  <a:pt x="1460077" y="0"/>
                </a:moveTo>
                <a:cubicBezTo>
                  <a:pt x="1850098" y="0"/>
                  <a:pt x="2216722" y="151860"/>
                  <a:pt x="2492477" y="427677"/>
                </a:cubicBezTo>
                <a:cubicBezTo>
                  <a:pt x="2768232" y="703494"/>
                  <a:pt x="2920154" y="1070118"/>
                  <a:pt x="2920154" y="1460139"/>
                </a:cubicBezTo>
                <a:cubicBezTo>
                  <a:pt x="2920154" y="1850159"/>
                  <a:pt x="2768294" y="2216784"/>
                  <a:pt x="2492477" y="2492601"/>
                </a:cubicBezTo>
                <a:cubicBezTo>
                  <a:pt x="2216722" y="2768356"/>
                  <a:pt x="1850036" y="2920216"/>
                  <a:pt x="1460077" y="2920216"/>
                </a:cubicBezTo>
                <a:lnTo>
                  <a:pt x="1460077" y="2920154"/>
                </a:lnTo>
                <a:cubicBezTo>
                  <a:pt x="1070056" y="2920154"/>
                  <a:pt x="703432" y="2768294"/>
                  <a:pt x="427615" y="2492539"/>
                </a:cubicBezTo>
                <a:cubicBezTo>
                  <a:pt x="151860" y="2216784"/>
                  <a:pt x="0" y="1850098"/>
                  <a:pt x="0" y="1460139"/>
                </a:cubicBezTo>
                <a:cubicBezTo>
                  <a:pt x="0" y="1070180"/>
                  <a:pt x="151860" y="703432"/>
                  <a:pt x="427677" y="427677"/>
                </a:cubicBezTo>
                <a:cubicBezTo>
                  <a:pt x="703432" y="151922"/>
                  <a:pt x="1070056" y="0"/>
                  <a:pt x="1460077" y="0"/>
                </a:cubicBezTo>
                <a:close/>
              </a:path>
            </a:pathLst>
          </a:custGeom>
          <a:solidFill>
            <a:srgbClr val="FFFFFF"/>
          </a:solidFill>
          <a:ln w="0" cap="flat">
            <a:noFill/>
            <a:prstDash val="solid"/>
            <a:miter/>
          </a:ln>
        </p:spPr>
        <p:txBody>
          <a:bodyPr rtlCol="0" anchor="ctr"/>
          <a:lstStyle/>
          <a:p>
            <a:endParaRPr lang="da-DK" sz="1200" dirty="0"/>
          </a:p>
        </p:txBody>
      </p:sp>
      <p:sp>
        <p:nvSpPr>
          <p:cNvPr id="9" name="Freeform: Shape 8">
            <a:extLst>
              <a:ext uri="{FF2B5EF4-FFF2-40B4-BE49-F238E27FC236}">
                <a16:creationId xmlns:a16="http://schemas.microsoft.com/office/drawing/2014/main" id="{1405CD08-95AC-EB4F-8C7F-E1CCF4A19C5D}"/>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45075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rside_med billede pladsholder ">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D07C355A-2A49-3DCF-6772-CF7B7CBA3AE7}"/>
              </a:ext>
            </a:extLst>
          </p:cNvPr>
          <p:cNvSpPr>
            <a:spLocks noGrp="1"/>
          </p:cNvSpPr>
          <p:nvPr>
            <p:ph type="pic" sz="quarter" idx="10" hasCustomPrompt="1"/>
          </p:nvPr>
        </p:nvSpPr>
        <p:spPr>
          <a:xfrm>
            <a:off x="0" y="0"/>
            <a:ext cx="9144000" cy="5143500"/>
          </a:xfrm>
          <a:pattFill prst="pct30">
            <a:fgClr>
              <a:schemeClr val="accent1">
                <a:lumMod val="100000"/>
              </a:schemeClr>
            </a:fgClr>
            <a:bgClr>
              <a:schemeClr val="bg1">
                <a:lumMod val="100000"/>
              </a:schemeClr>
            </a:bgClr>
          </a:pattFill>
          <a:effectLst/>
        </p:spPr>
        <p:txBody>
          <a:bodyPr/>
          <a:lstStyle>
            <a:lvl1pPr marL="0" indent="0" algn="ctr">
              <a:buNone/>
              <a:defRPr/>
            </a:lvl1pPr>
          </a:lstStyle>
          <a:p>
            <a:pPr marL="0" marR="0" lvl="0" indent="0" algn="ctr" defTabSz="818672" rtl="0" eaLnBrk="1" fontAlgn="auto" latinLnBrk="0" hangingPunct="1">
              <a:lnSpc>
                <a:spcPct val="100000"/>
              </a:lnSpc>
              <a:spcBef>
                <a:spcPct val="20000"/>
              </a:spcBef>
              <a:spcAft>
                <a:spcPts val="450"/>
              </a:spcAft>
              <a:buClrTx/>
              <a:buSzTx/>
              <a:buFont typeface="Arial" panose="020B0604020202020204" pitchFamily="34" charset="0"/>
              <a:buNone/>
              <a:tabLst/>
              <a:defRPr/>
            </a:pPr>
            <a:r>
              <a:rPr lang="da-DK" sz="1500" dirty="0"/>
              <a:t>Klik på rammen og indsæt mørkt billede, via fanen Indsæt, Billeder</a:t>
            </a:r>
          </a:p>
        </p:txBody>
      </p:sp>
      <p:sp>
        <p:nvSpPr>
          <p:cNvPr id="2" name="Titel 1">
            <a:extLst>
              <a:ext uri="{FF2B5EF4-FFF2-40B4-BE49-F238E27FC236}">
                <a16:creationId xmlns:a16="http://schemas.microsoft.com/office/drawing/2014/main" id="{7AD9C2CD-1B72-B5C1-0BD1-1A7F7EAA073C}"/>
              </a:ext>
            </a:extLst>
          </p:cNvPr>
          <p:cNvSpPr>
            <a:spLocks noGrp="1"/>
          </p:cNvSpPr>
          <p:nvPr>
            <p:ph type="ctrTitle" hasCustomPrompt="1"/>
          </p:nvPr>
        </p:nvSpPr>
        <p:spPr>
          <a:xfrm>
            <a:off x="934138" y="2067694"/>
            <a:ext cx="7087103" cy="1205443"/>
          </a:xfrm>
          <a:prstGeom prst="rect">
            <a:avLst/>
          </a:prstGeom>
          <a:effectLst/>
        </p:spPr>
        <p:txBody>
          <a:bodyPr vert="horz" wrap="square" lIns="0" tIns="45720" rIns="91440" bIns="45720" anchor="t" anchorCtr="0">
            <a:noAutofit/>
          </a:bodyPr>
          <a:lstStyle>
            <a:lvl1pPr algn="l">
              <a:defRPr sz="3450" b="0" i="0" u="none" strike="noStrike">
                <a:solidFill>
                  <a:schemeClr val="bg1">
                    <a:lumMod val="100000"/>
                  </a:schemeClr>
                </a:solidFill>
                <a:latin typeface="+mj-lt"/>
                <a:cs typeface="Arial" panose="020B0604020202020204" pitchFamily="34" charset="0"/>
              </a:defRPr>
            </a:lvl1pPr>
          </a:lstStyle>
          <a:p>
            <a:r>
              <a:rPr lang="da-DK" dirty="0"/>
              <a:t>Her kan du skrive </a:t>
            </a:r>
            <a:br>
              <a:rPr lang="da-DK" dirty="0"/>
            </a:br>
            <a:r>
              <a:rPr lang="da-DK" dirty="0"/>
              <a:t>din titel i to linjer</a:t>
            </a:r>
          </a:p>
        </p:txBody>
      </p:sp>
      <p:sp>
        <p:nvSpPr>
          <p:cNvPr id="4" name="Undertitel 2">
            <a:extLst>
              <a:ext uri="{FF2B5EF4-FFF2-40B4-BE49-F238E27FC236}">
                <a16:creationId xmlns:a16="http://schemas.microsoft.com/office/drawing/2014/main" id="{2F73F4F8-07D6-A27C-C0A0-3163956E1939}"/>
              </a:ext>
            </a:extLst>
          </p:cNvPr>
          <p:cNvSpPr>
            <a:spLocks noGrp="1"/>
          </p:cNvSpPr>
          <p:nvPr>
            <p:ph type="subTitle" idx="1" hasCustomPrompt="1"/>
          </p:nvPr>
        </p:nvSpPr>
        <p:spPr>
          <a:xfrm>
            <a:off x="934139" y="3357159"/>
            <a:ext cx="5855996" cy="360040"/>
          </a:xfrm>
          <a:noFill/>
          <a:effectLst/>
        </p:spPr>
        <p:txBody>
          <a:bodyPr vert="horz" wrap="square" lIns="0" anchor="t">
            <a:noAutofit/>
          </a:bodyPr>
          <a:lstStyle>
            <a:lvl1pPr marL="0" indent="0" algn="l">
              <a:buNone/>
              <a:defRPr sz="1650" b="0" i="0" u="none" strike="noStrike">
                <a:solidFill>
                  <a:schemeClr val="bg1">
                    <a:lumMod val="100000"/>
                  </a:schemeClr>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da-DK" noProof="0" dirty="0"/>
              <a:t>Klik her for at tilføje en underoverskrift</a:t>
            </a:r>
          </a:p>
        </p:txBody>
      </p:sp>
      <p:sp>
        <p:nvSpPr>
          <p:cNvPr id="5" name="Date Placeholder 7">
            <a:extLst>
              <a:ext uri="{FF2B5EF4-FFF2-40B4-BE49-F238E27FC236}">
                <a16:creationId xmlns:a16="http://schemas.microsoft.com/office/drawing/2014/main" id="{3A2A19EF-450D-3FE4-5DAA-11C7BDEA783D}"/>
              </a:ext>
            </a:extLst>
          </p:cNvPr>
          <p:cNvSpPr>
            <a:spLocks noGrp="1"/>
          </p:cNvSpPr>
          <p:nvPr>
            <p:ph type="dt" sz="half" idx="16"/>
          </p:nvPr>
        </p:nvSpPr>
        <p:spPr>
          <a:xfrm>
            <a:off x="0" y="5143500"/>
            <a:ext cx="0" cy="0"/>
          </a:xfrm>
          <a:prstGeom prst="rect">
            <a:avLst/>
          </a:prstGeom>
        </p:spPr>
        <p:txBody>
          <a:bodyPr vert="horz" lIns="0" tIns="0" rIns="0" bIns="0" rtlCol="0" anchor="b" anchorCtr="0"/>
          <a:lstStyle>
            <a:defPPr>
              <a:defRPr lang="da-DK"/>
            </a:defPPr>
            <a:lvl1pPr marL="0" algn="r" defTabSz="685800" rtl="0" eaLnBrk="1" latinLnBrk="0" hangingPunct="1">
              <a:defRPr lang="da-DK" sz="600" kern="1200" smtClean="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858AE6E9-E3B7-46DC-B35A-D36EA767980A}" type="datetime2">
              <a:rPr lang="da-DK" smtClean="0"/>
              <a:t>17. september 2025</a:t>
            </a:fld>
            <a:endParaRPr lang="da-DK" dirty="0"/>
          </a:p>
        </p:txBody>
      </p:sp>
      <p:sp>
        <p:nvSpPr>
          <p:cNvPr id="7" name="Footer Placeholder 8">
            <a:extLst>
              <a:ext uri="{FF2B5EF4-FFF2-40B4-BE49-F238E27FC236}">
                <a16:creationId xmlns:a16="http://schemas.microsoft.com/office/drawing/2014/main" id="{6E883C9C-DCF9-9BDC-EF56-1DDA9E577EE4}"/>
              </a:ext>
            </a:extLst>
          </p:cNvPr>
          <p:cNvSpPr>
            <a:spLocks noGrp="1"/>
          </p:cNvSpPr>
          <p:nvPr>
            <p:ph type="ftr" sz="quarter" idx="17"/>
          </p:nvPr>
        </p:nvSpPr>
        <p:spPr>
          <a:xfrm>
            <a:off x="0" y="5143500"/>
            <a:ext cx="0" cy="0"/>
          </a:xfrm>
          <a:prstGeom prst="rect">
            <a:avLst/>
          </a:prstGeom>
        </p:spPr>
        <p:txBody>
          <a:bodyPr vert="horz" lIns="0" tIns="0" rIns="0" bIns="0" rtlCol="0" anchor="b" anchorCtr="0"/>
          <a:lstStyle>
            <a:defPPr>
              <a:defRPr lang="da-DK"/>
            </a:defPPr>
            <a:lvl1pPr marL="0" algn="l" defTabSz="685800" rtl="0" eaLnBrk="1" latinLnBrk="0" hangingPunct="1">
              <a:defRPr lang="da-DK"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8" name="Slide Number Placeholder 9">
            <a:extLst>
              <a:ext uri="{FF2B5EF4-FFF2-40B4-BE49-F238E27FC236}">
                <a16:creationId xmlns:a16="http://schemas.microsoft.com/office/drawing/2014/main" id="{5F41990D-FE63-4773-6305-39B7B324F23F}"/>
              </a:ext>
            </a:extLst>
          </p:cNvPr>
          <p:cNvSpPr>
            <a:spLocks noGrp="1"/>
          </p:cNvSpPr>
          <p:nvPr>
            <p:ph type="sldNum" sz="quarter" idx="18"/>
          </p:nvPr>
        </p:nvSpPr>
        <p:spPr>
          <a:xfrm>
            <a:off x="0" y="5143500"/>
            <a:ext cx="0" cy="0"/>
          </a:xfrm>
          <a:prstGeom prst="rect">
            <a:avLst/>
          </a:prstGeom>
        </p:spPr>
        <p:txBody>
          <a:bodyPr vert="horz" lIns="0" tIns="0" rIns="0" bIns="0" rtlCol="0" anchor="b" anchorCtr="0"/>
          <a:lstStyle>
            <a:defPPr>
              <a:defRPr lang="da-DK"/>
            </a:defPPr>
            <a:lvl1pPr marL="0" algn="r" defTabSz="685800" rtl="0" eaLnBrk="1" latinLnBrk="0" hangingPunct="1">
              <a:defRPr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12" name="Text Placeholder 11">
            <a:extLst>
              <a:ext uri="{FF2B5EF4-FFF2-40B4-BE49-F238E27FC236}">
                <a16:creationId xmlns:a16="http://schemas.microsoft.com/office/drawing/2014/main" id="{51752EA6-8060-D134-92B8-0BDFDD28F0F4}"/>
              </a:ext>
            </a:extLst>
          </p:cNvPr>
          <p:cNvSpPr>
            <a:spLocks noGrp="1"/>
          </p:cNvSpPr>
          <p:nvPr>
            <p:ph type="body" sz="quarter" idx="19" hasCustomPrompt="1"/>
          </p:nvPr>
        </p:nvSpPr>
        <p:spPr>
          <a:xfrm>
            <a:off x="934642" y="778409"/>
            <a:ext cx="1141176" cy="1141200"/>
          </a:xfrm>
          <a:custGeom>
            <a:avLst/>
            <a:gdLst>
              <a:gd name="connsiteX0" fmla="*/ 473575 w 1521568"/>
              <a:gd name="connsiteY0" fmla="*/ 1075589 h 1521600"/>
              <a:gd name="connsiteX1" fmla="*/ 1070122 w 1521568"/>
              <a:gd name="connsiteY1" fmla="*/ 1075589 h 1521600"/>
              <a:gd name="connsiteX2" fmla="*/ 1070122 w 1521568"/>
              <a:gd name="connsiteY2" fmla="*/ 1082859 h 1521600"/>
              <a:gd name="connsiteX3" fmla="*/ 1070122 w 1521568"/>
              <a:gd name="connsiteY3" fmla="*/ 1106147 h 1521600"/>
              <a:gd name="connsiteX4" fmla="*/ 1070122 w 1521568"/>
              <a:gd name="connsiteY4" fmla="*/ 1113417 h 1521600"/>
              <a:gd name="connsiteX5" fmla="*/ 473575 w 1521568"/>
              <a:gd name="connsiteY5" fmla="*/ 1113417 h 1521600"/>
              <a:gd name="connsiteX6" fmla="*/ 473575 w 1521568"/>
              <a:gd name="connsiteY6" fmla="*/ 1113095 h 1521600"/>
              <a:gd name="connsiteX7" fmla="*/ 462510 w 1521568"/>
              <a:gd name="connsiteY7" fmla="*/ 1113095 h 1521600"/>
              <a:gd name="connsiteX8" fmla="*/ 462510 w 1521568"/>
              <a:gd name="connsiteY8" fmla="*/ 1082537 h 1521600"/>
              <a:gd name="connsiteX9" fmla="*/ 473575 w 1521568"/>
              <a:gd name="connsiteY9" fmla="*/ 1082537 h 1521600"/>
              <a:gd name="connsiteX10" fmla="*/ 473575 w 1521568"/>
              <a:gd name="connsiteY10" fmla="*/ 1024156 h 1521600"/>
              <a:gd name="connsiteX11" fmla="*/ 1070122 w 1521568"/>
              <a:gd name="connsiteY11" fmla="*/ 1024156 h 1521600"/>
              <a:gd name="connsiteX12" fmla="*/ 1070122 w 1521568"/>
              <a:gd name="connsiteY12" fmla="*/ 1031426 h 1521600"/>
              <a:gd name="connsiteX13" fmla="*/ 1070122 w 1521568"/>
              <a:gd name="connsiteY13" fmla="*/ 1054714 h 1521600"/>
              <a:gd name="connsiteX14" fmla="*/ 1070122 w 1521568"/>
              <a:gd name="connsiteY14" fmla="*/ 1061984 h 1521600"/>
              <a:gd name="connsiteX15" fmla="*/ 473575 w 1521568"/>
              <a:gd name="connsiteY15" fmla="*/ 1061984 h 1521600"/>
              <a:gd name="connsiteX16" fmla="*/ 473575 w 1521568"/>
              <a:gd name="connsiteY16" fmla="*/ 1061662 h 1521600"/>
              <a:gd name="connsiteX17" fmla="*/ 462510 w 1521568"/>
              <a:gd name="connsiteY17" fmla="*/ 1061662 h 1521600"/>
              <a:gd name="connsiteX18" fmla="*/ 462510 w 1521568"/>
              <a:gd name="connsiteY18" fmla="*/ 1031104 h 1521600"/>
              <a:gd name="connsiteX19" fmla="*/ 473575 w 1521568"/>
              <a:gd name="connsiteY19" fmla="*/ 1031104 h 1521600"/>
              <a:gd name="connsiteX20" fmla="*/ 473575 w 1521568"/>
              <a:gd name="connsiteY20" fmla="*/ 972723 h 1521600"/>
              <a:gd name="connsiteX21" fmla="*/ 1070122 w 1521568"/>
              <a:gd name="connsiteY21" fmla="*/ 972723 h 1521600"/>
              <a:gd name="connsiteX22" fmla="*/ 1070122 w 1521568"/>
              <a:gd name="connsiteY22" fmla="*/ 979993 h 1521600"/>
              <a:gd name="connsiteX23" fmla="*/ 1070122 w 1521568"/>
              <a:gd name="connsiteY23" fmla="*/ 1003281 h 1521600"/>
              <a:gd name="connsiteX24" fmla="*/ 1070122 w 1521568"/>
              <a:gd name="connsiteY24" fmla="*/ 1010550 h 1521600"/>
              <a:gd name="connsiteX25" fmla="*/ 473575 w 1521568"/>
              <a:gd name="connsiteY25" fmla="*/ 1010550 h 1521600"/>
              <a:gd name="connsiteX26" fmla="*/ 473575 w 1521568"/>
              <a:gd name="connsiteY26" fmla="*/ 1010228 h 1521600"/>
              <a:gd name="connsiteX27" fmla="*/ 462510 w 1521568"/>
              <a:gd name="connsiteY27" fmla="*/ 1010228 h 1521600"/>
              <a:gd name="connsiteX28" fmla="*/ 462510 w 1521568"/>
              <a:gd name="connsiteY28" fmla="*/ 979671 h 1521600"/>
              <a:gd name="connsiteX29" fmla="*/ 473575 w 1521568"/>
              <a:gd name="connsiteY29" fmla="*/ 979671 h 1521600"/>
              <a:gd name="connsiteX30" fmla="*/ 768141 w 1521568"/>
              <a:gd name="connsiteY30" fmla="*/ 497344 h 1521600"/>
              <a:gd name="connsiteX31" fmla="*/ 750539 w 1521568"/>
              <a:gd name="connsiteY31" fmla="*/ 502737 h 1521600"/>
              <a:gd name="connsiteX32" fmla="*/ 736676 w 1521568"/>
              <a:gd name="connsiteY32" fmla="*/ 519596 h 1521600"/>
              <a:gd name="connsiteX33" fmla="*/ 734402 w 1521568"/>
              <a:gd name="connsiteY33" fmla="*/ 530863 h 1521600"/>
              <a:gd name="connsiteX34" fmla="*/ 736676 w 1521568"/>
              <a:gd name="connsiteY34" fmla="*/ 542129 h 1521600"/>
              <a:gd name="connsiteX35" fmla="*/ 771913 w 1521568"/>
              <a:gd name="connsiteY35" fmla="*/ 565537 h 1521600"/>
              <a:gd name="connsiteX36" fmla="*/ 788402 w 1521568"/>
              <a:gd name="connsiteY36" fmla="*/ 560484 h 1521600"/>
              <a:gd name="connsiteX37" fmla="*/ 796084 w 1521568"/>
              <a:gd name="connsiteY37" fmla="*/ 549077 h 1521600"/>
              <a:gd name="connsiteX38" fmla="*/ 799092 w 1521568"/>
              <a:gd name="connsiteY38" fmla="*/ 534175 h 1521600"/>
              <a:gd name="connsiteX39" fmla="*/ 775725 w 1521568"/>
              <a:gd name="connsiteY39" fmla="*/ 498880 h 1521600"/>
              <a:gd name="connsiteX40" fmla="*/ 771848 w 1521568"/>
              <a:gd name="connsiteY40" fmla="*/ 406863 h 1521600"/>
              <a:gd name="connsiteX41" fmla="*/ 787095 w 1521568"/>
              <a:gd name="connsiteY41" fmla="*/ 422142 h 1521600"/>
              <a:gd name="connsiteX42" fmla="*/ 787095 w 1521568"/>
              <a:gd name="connsiteY42" fmla="*/ 429412 h 1521600"/>
              <a:gd name="connsiteX43" fmla="*/ 787095 w 1521568"/>
              <a:gd name="connsiteY43" fmla="*/ 462220 h 1521600"/>
              <a:gd name="connsiteX44" fmla="*/ 838142 w 1521568"/>
              <a:gd name="connsiteY44" fmla="*/ 531538 h 1521600"/>
              <a:gd name="connsiteX45" fmla="*/ 933031 w 1521568"/>
              <a:gd name="connsiteY45" fmla="*/ 509504 h 1521600"/>
              <a:gd name="connsiteX46" fmla="*/ 1079385 w 1521568"/>
              <a:gd name="connsiteY46" fmla="*/ 614011 h 1521600"/>
              <a:gd name="connsiteX47" fmla="*/ 1079417 w 1521568"/>
              <a:gd name="connsiteY47" fmla="*/ 614011 h 1521600"/>
              <a:gd name="connsiteX48" fmla="*/ 1185661 w 1521568"/>
              <a:gd name="connsiteY48" fmla="*/ 739907 h 1521600"/>
              <a:gd name="connsiteX49" fmla="*/ 1185212 w 1521568"/>
              <a:gd name="connsiteY49" fmla="*/ 742396 h 1521600"/>
              <a:gd name="connsiteX50" fmla="*/ 1185661 w 1521568"/>
              <a:gd name="connsiteY50" fmla="*/ 747178 h 1521600"/>
              <a:gd name="connsiteX51" fmla="*/ 1068224 w 1521568"/>
              <a:gd name="connsiteY51" fmla="*/ 945383 h 1521600"/>
              <a:gd name="connsiteX52" fmla="*/ 1067516 w 1521568"/>
              <a:gd name="connsiteY52" fmla="*/ 946219 h 1521600"/>
              <a:gd name="connsiteX53" fmla="*/ 1027019 w 1521568"/>
              <a:gd name="connsiteY53" fmla="*/ 946219 h 1521600"/>
              <a:gd name="connsiteX54" fmla="*/ 1027308 w 1521568"/>
              <a:gd name="connsiteY54" fmla="*/ 945897 h 1521600"/>
              <a:gd name="connsiteX55" fmla="*/ 1015986 w 1521568"/>
              <a:gd name="connsiteY55" fmla="*/ 945897 h 1521600"/>
              <a:gd name="connsiteX56" fmla="*/ 1019589 w 1521568"/>
              <a:gd name="connsiteY56" fmla="*/ 941877 h 1521600"/>
              <a:gd name="connsiteX57" fmla="*/ 1101193 w 1521568"/>
              <a:gd name="connsiteY57" fmla="*/ 838142 h 1521600"/>
              <a:gd name="connsiteX58" fmla="*/ 1144199 w 1521568"/>
              <a:gd name="connsiteY58" fmla="*/ 745312 h 1521600"/>
              <a:gd name="connsiteX59" fmla="*/ 1124610 w 1521568"/>
              <a:gd name="connsiteY59" fmla="*/ 675383 h 1521600"/>
              <a:gd name="connsiteX60" fmla="*/ 1102484 w 1521568"/>
              <a:gd name="connsiteY60" fmla="*/ 660330 h 1521600"/>
              <a:gd name="connsiteX61" fmla="*/ 1082125 w 1521568"/>
              <a:gd name="connsiteY61" fmla="*/ 654881 h 1521600"/>
              <a:gd name="connsiteX62" fmla="*/ 1081830 w 1521568"/>
              <a:gd name="connsiteY62" fmla="*/ 671459 h 1521600"/>
              <a:gd name="connsiteX63" fmla="*/ 1040626 w 1521568"/>
              <a:gd name="connsiteY63" fmla="*/ 783074 h 1521600"/>
              <a:gd name="connsiteX64" fmla="*/ 932002 w 1521568"/>
              <a:gd name="connsiteY64" fmla="*/ 945286 h 1521600"/>
              <a:gd name="connsiteX65" fmla="*/ 931262 w 1521568"/>
              <a:gd name="connsiteY65" fmla="*/ 946219 h 1521600"/>
              <a:gd name="connsiteX66" fmla="*/ 892631 w 1521568"/>
              <a:gd name="connsiteY66" fmla="*/ 946219 h 1521600"/>
              <a:gd name="connsiteX67" fmla="*/ 892892 w 1521568"/>
              <a:gd name="connsiteY67" fmla="*/ 945897 h 1521600"/>
              <a:gd name="connsiteX68" fmla="*/ 881598 w 1521568"/>
              <a:gd name="connsiteY68" fmla="*/ 945897 h 1521600"/>
              <a:gd name="connsiteX69" fmla="*/ 884782 w 1521568"/>
              <a:gd name="connsiteY69" fmla="*/ 941973 h 1521600"/>
              <a:gd name="connsiteX70" fmla="*/ 1040271 w 1521568"/>
              <a:gd name="connsiteY70" fmla="*/ 669014 h 1521600"/>
              <a:gd name="connsiteX71" fmla="*/ 1018945 w 1521568"/>
              <a:gd name="connsiteY71" fmla="*/ 582778 h 1521600"/>
              <a:gd name="connsiteX72" fmla="*/ 953009 w 1521568"/>
              <a:gd name="connsiteY72" fmla="*/ 549260 h 1521600"/>
              <a:gd name="connsiteX73" fmla="*/ 930021 w 1521568"/>
              <a:gd name="connsiteY73" fmla="*/ 547590 h 1521600"/>
              <a:gd name="connsiteX74" fmla="*/ 903213 w 1521568"/>
              <a:gd name="connsiteY74" fmla="*/ 549844 h 1521600"/>
              <a:gd name="connsiteX75" fmla="*/ 787159 w 1521568"/>
              <a:gd name="connsiteY75" fmla="*/ 612371 h 1521600"/>
              <a:gd name="connsiteX76" fmla="*/ 787159 w 1521568"/>
              <a:gd name="connsiteY76" fmla="*/ 938982 h 1521600"/>
              <a:gd name="connsiteX77" fmla="*/ 787159 w 1521568"/>
              <a:gd name="connsiteY77" fmla="*/ 946251 h 1521600"/>
              <a:gd name="connsiteX78" fmla="*/ 756634 w 1521568"/>
              <a:gd name="connsiteY78" fmla="*/ 946251 h 1521600"/>
              <a:gd name="connsiteX79" fmla="*/ 756634 w 1521568"/>
              <a:gd name="connsiteY79" fmla="*/ 945929 h 1521600"/>
              <a:gd name="connsiteX80" fmla="*/ 745569 w 1521568"/>
              <a:gd name="connsiteY80" fmla="*/ 945929 h 1521600"/>
              <a:gd name="connsiteX81" fmla="*/ 745569 w 1521568"/>
              <a:gd name="connsiteY81" fmla="*/ 612049 h 1521600"/>
              <a:gd name="connsiteX82" fmla="*/ 629515 w 1521568"/>
              <a:gd name="connsiteY82" fmla="*/ 549522 h 1521600"/>
              <a:gd name="connsiteX83" fmla="*/ 606820 w 1521568"/>
              <a:gd name="connsiteY83" fmla="*/ 547614 h 1521600"/>
              <a:gd name="connsiteX84" fmla="*/ 579700 w 1521568"/>
              <a:gd name="connsiteY84" fmla="*/ 549587 h 1521600"/>
              <a:gd name="connsiteX85" fmla="*/ 513750 w 1521568"/>
              <a:gd name="connsiteY85" fmla="*/ 583132 h 1521600"/>
              <a:gd name="connsiteX86" fmla="*/ 491869 w 1521568"/>
              <a:gd name="connsiteY86" fmla="*/ 638477 h 1521600"/>
              <a:gd name="connsiteX87" fmla="*/ 491568 w 1521568"/>
              <a:gd name="connsiteY87" fmla="*/ 653811 h 1521600"/>
              <a:gd name="connsiteX88" fmla="*/ 492027 w 1521568"/>
              <a:gd name="connsiteY88" fmla="*/ 659021 h 1521600"/>
              <a:gd name="connsiteX89" fmla="*/ 492424 w 1521568"/>
              <a:gd name="connsiteY89" fmla="*/ 661874 h 1521600"/>
              <a:gd name="connsiteX90" fmla="*/ 647946 w 1521568"/>
              <a:gd name="connsiteY90" fmla="*/ 935025 h 1521600"/>
              <a:gd name="connsiteX91" fmla="*/ 651130 w 1521568"/>
              <a:gd name="connsiteY91" fmla="*/ 938949 h 1521600"/>
              <a:gd name="connsiteX92" fmla="*/ 645278 w 1521568"/>
              <a:gd name="connsiteY92" fmla="*/ 938949 h 1521600"/>
              <a:gd name="connsiteX93" fmla="*/ 646062 w 1521568"/>
              <a:gd name="connsiteY93" fmla="*/ 939942 h 1521600"/>
              <a:gd name="connsiteX94" fmla="*/ 647946 w 1521568"/>
              <a:gd name="connsiteY94" fmla="*/ 942295 h 1521600"/>
              <a:gd name="connsiteX95" fmla="*/ 651130 w 1521568"/>
              <a:gd name="connsiteY95" fmla="*/ 946219 h 1521600"/>
              <a:gd name="connsiteX96" fmla="*/ 612499 w 1521568"/>
              <a:gd name="connsiteY96" fmla="*/ 946219 h 1521600"/>
              <a:gd name="connsiteX97" fmla="*/ 612244 w 1521568"/>
              <a:gd name="connsiteY97" fmla="*/ 945897 h 1521600"/>
              <a:gd name="connsiteX98" fmla="*/ 601434 w 1521568"/>
              <a:gd name="connsiteY98" fmla="*/ 945897 h 1521600"/>
              <a:gd name="connsiteX99" fmla="*/ 600694 w 1521568"/>
              <a:gd name="connsiteY99" fmla="*/ 944964 h 1521600"/>
              <a:gd name="connsiteX100" fmla="*/ 492038 w 1521568"/>
              <a:gd name="connsiteY100" fmla="*/ 782752 h 1521600"/>
              <a:gd name="connsiteX101" fmla="*/ 450866 w 1521568"/>
              <a:gd name="connsiteY101" fmla="*/ 671138 h 1521600"/>
              <a:gd name="connsiteX102" fmla="*/ 450582 w 1521568"/>
              <a:gd name="connsiteY102" fmla="*/ 655205 h 1521600"/>
              <a:gd name="connsiteX103" fmla="*/ 430216 w 1521568"/>
              <a:gd name="connsiteY103" fmla="*/ 660652 h 1521600"/>
              <a:gd name="connsiteX104" fmla="*/ 408086 w 1521568"/>
              <a:gd name="connsiteY104" fmla="*/ 675705 h 1521600"/>
              <a:gd name="connsiteX105" fmla="*/ 392276 w 1521568"/>
              <a:gd name="connsiteY105" fmla="*/ 704759 h 1521600"/>
              <a:gd name="connsiteX106" fmla="*/ 388980 w 1521568"/>
              <a:gd name="connsiteY106" fmla="*/ 740722 h 1521600"/>
              <a:gd name="connsiteX107" fmla="*/ 391851 w 1521568"/>
              <a:gd name="connsiteY107" fmla="*/ 755763 h 1521600"/>
              <a:gd name="connsiteX108" fmla="*/ 431502 w 1521568"/>
              <a:gd name="connsiteY108" fmla="*/ 831194 h 1521600"/>
              <a:gd name="connsiteX109" fmla="*/ 513107 w 1521568"/>
              <a:gd name="connsiteY109" fmla="*/ 934928 h 1521600"/>
              <a:gd name="connsiteX110" fmla="*/ 516710 w 1521568"/>
              <a:gd name="connsiteY110" fmla="*/ 938949 h 1521600"/>
              <a:gd name="connsiteX111" fmla="*/ 510379 w 1521568"/>
              <a:gd name="connsiteY111" fmla="*/ 938949 h 1521600"/>
              <a:gd name="connsiteX112" fmla="*/ 513107 w 1521568"/>
              <a:gd name="connsiteY112" fmla="*/ 942199 h 1521600"/>
              <a:gd name="connsiteX113" fmla="*/ 516710 w 1521568"/>
              <a:gd name="connsiteY113" fmla="*/ 946219 h 1521600"/>
              <a:gd name="connsiteX114" fmla="*/ 476213 w 1521568"/>
              <a:gd name="connsiteY114" fmla="*/ 946219 h 1521600"/>
              <a:gd name="connsiteX115" fmla="*/ 475941 w 1521568"/>
              <a:gd name="connsiteY115" fmla="*/ 945897 h 1521600"/>
              <a:gd name="connsiteX116" fmla="*/ 465148 w 1521568"/>
              <a:gd name="connsiteY116" fmla="*/ 945897 h 1521600"/>
              <a:gd name="connsiteX117" fmla="*/ 464440 w 1521568"/>
              <a:gd name="connsiteY117" fmla="*/ 945061 h 1521600"/>
              <a:gd name="connsiteX118" fmla="*/ 347003 w 1521568"/>
              <a:gd name="connsiteY118" fmla="*/ 746856 h 1521600"/>
              <a:gd name="connsiteX119" fmla="*/ 405204 w 1521568"/>
              <a:gd name="connsiteY119" fmla="*/ 633384 h 1521600"/>
              <a:gd name="connsiteX120" fmla="*/ 407920 w 1521568"/>
              <a:gd name="connsiteY120" fmla="*/ 632681 h 1521600"/>
              <a:gd name="connsiteX121" fmla="*/ 416270 w 1521568"/>
              <a:gd name="connsiteY121" fmla="*/ 626435 h 1521600"/>
              <a:gd name="connsiteX122" fmla="*/ 454341 w 1521568"/>
              <a:gd name="connsiteY122" fmla="*/ 616590 h 1521600"/>
              <a:gd name="connsiteX123" fmla="*/ 459146 w 1521568"/>
              <a:gd name="connsiteY123" fmla="*/ 597399 h 1521600"/>
              <a:gd name="connsiteX124" fmla="*/ 499344 w 1521568"/>
              <a:gd name="connsiteY124" fmla="*/ 543813 h 1521600"/>
              <a:gd name="connsiteX125" fmla="*/ 507389 w 1521568"/>
              <a:gd name="connsiteY125" fmla="*/ 540092 h 1521600"/>
              <a:gd name="connsiteX126" fmla="*/ 510409 w 1521568"/>
              <a:gd name="connsiteY126" fmla="*/ 536837 h 1521600"/>
              <a:gd name="connsiteX127" fmla="*/ 610666 w 1521568"/>
              <a:gd name="connsiteY127" fmla="*/ 509504 h 1521600"/>
              <a:gd name="connsiteX128" fmla="*/ 658569 w 1521568"/>
              <a:gd name="connsiteY128" fmla="*/ 515033 h 1521600"/>
              <a:gd name="connsiteX129" fmla="*/ 695600 w 1521568"/>
              <a:gd name="connsiteY129" fmla="*/ 528041 h 1521600"/>
              <a:gd name="connsiteX130" fmla="*/ 697128 w 1521568"/>
              <a:gd name="connsiteY130" fmla="*/ 513629 h 1521600"/>
              <a:gd name="connsiteX131" fmla="*/ 725094 w 1521568"/>
              <a:gd name="connsiteY131" fmla="*/ 477878 h 1521600"/>
              <a:gd name="connsiteX132" fmla="*/ 731281 w 1521568"/>
              <a:gd name="connsiteY132" fmla="*/ 475252 h 1521600"/>
              <a:gd name="connsiteX133" fmla="*/ 736159 w 1521568"/>
              <a:gd name="connsiteY133" fmla="*/ 470885 h 1521600"/>
              <a:gd name="connsiteX134" fmla="*/ 745536 w 1521568"/>
              <a:gd name="connsiteY134" fmla="*/ 466911 h 1521600"/>
              <a:gd name="connsiteX135" fmla="*/ 745536 w 1521568"/>
              <a:gd name="connsiteY135" fmla="*/ 429122 h 1521600"/>
              <a:gd name="connsiteX136" fmla="*/ 750012 w 1521568"/>
              <a:gd name="connsiteY136" fmla="*/ 418322 h 1521600"/>
              <a:gd name="connsiteX137" fmla="*/ 759886 w 1521568"/>
              <a:gd name="connsiteY137" fmla="*/ 414216 h 1521600"/>
              <a:gd name="connsiteX138" fmla="*/ 761077 w 1521568"/>
              <a:gd name="connsiteY138" fmla="*/ 411342 h 1521600"/>
              <a:gd name="connsiteX139" fmla="*/ 771848 w 1521568"/>
              <a:gd name="connsiteY139" fmla="*/ 406863 h 1521600"/>
              <a:gd name="connsiteX140" fmla="*/ 810415 w 1521568"/>
              <a:gd name="connsiteY140" fmla="*/ 368200 h 1521600"/>
              <a:gd name="connsiteX141" fmla="*/ 861913 w 1521568"/>
              <a:gd name="connsiteY141" fmla="*/ 368200 h 1521600"/>
              <a:gd name="connsiteX142" fmla="*/ 877191 w 1521568"/>
              <a:gd name="connsiteY142" fmla="*/ 383479 h 1521600"/>
              <a:gd name="connsiteX143" fmla="*/ 875684 w 1521568"/>
              <a:gd name="connsiteY143" fmla="*/ 387114 h 1521600"/>
              <a:gd name="connsiteX144" fmla="*/ 877191 w 1521568"/>
              <a:gd name="connsiteY144" fmla="*/ 390748 h 1521600"/>
              <a:gd name="connsiteX145" fmla="*/ 861913 w 1521568"/>
              <a:gd name="connsiteY145" fmla="*/ 406027 h 1521600"/>
              <a:gd name="connsiteX146" fmla="*/ 810415 w 1521568"/>
              <a:gd name="connsiteY146" fmla="*/ 406027 h 1521600"/>
              <a:gd name="connsiteX147" fmla="*/ 809640 w 1521568"/>
              <a:gd name="connsiteY147" fmla="*/ 405706 h 1521600"/>
              <a:gd name="connsiteX148" fmla="*/ 799350 w 1521568"/>
              <a:gd name="connsiteY148" fmla="*/ 405706 h 1521600"/>
              <a:gd name="connsiteX149" fmla="*/ 784071 w 1521568"/>
              <a:gd name="connsiteY149" fmla="*/ 390427 h 1521600"/>
              <a:gd name="connsiteX150" fmla="*/ 788550 w 1521568"/>
              <a:gd name="connsiteY150" fmla="*/ 379627 h 1521600"/>
              <a:gd name="connsiteX151" fmla="*/ 798434 w 1521568"/>
              <a:gd name="connsiteY151" fmla="*/ 375528 h 1521600"/>
              <a:gd name="connsiteX152" fmla="*/ 799615 w 1521568"/>
              <a:gd name="connsiteY152" fmla="*/ 372679 h 1521600"/>
              <a:gd name="connsiteX153" fmla="*/ 810415 w 1521568"/>
              <a:gd name="connsiteY153" fmla="*/ 368200 h 1521600"/>
              <a:gd name="connsiteX154" fmla="*/ 681817 w 1521568"/>
              <a:gd name="connsiteY154" fmla="*/ 368200 h 1521600"/>
              <a:gd name="connsiteX155" fmla="*/ 733314 w 1521568"/>
              <a:gd name="connsiteY155" fmla="*/ 368200 h 1521600"/>
              <a:gd name="connsiteX156" fmla="*/ 748592 w 1521568"/>
              <a:gd name="connsiteY156" fmla="*/ 383479 h 1521600"/>
              <a:gd name="connsiteX157" fmla="*/ 747085 w 1521568"/>
              <a:gd name="connsiteY157" fmla="*/ 387114 h 1521600"/>
              <a:gd name="connsiteX158" fmla="*/ 748592 w 1521568"/>
              <a:gd name="connsiteY158" fmla="*/ 390748 h 1521600"/>
              <a:gd name="connsiteX159" fmla="*/ 733314 w 1521568"/>
              <a:gd name="connsiteY159" fmla="*/ 406027 h 1521600"/>
              <a:gd name="connsiteX160" fmla="*/ 681817 w 1521568"/>
              <a:gd name="connsiteY160" fmla="*/ 406027 h 1521600"/>
              <a:gd name="connsiteX161" fmla="*/ 681042 w 1521568"/>
              <a:gd name="connsiteY161" fmla="*/ 405706 h 1521600"/>
              <a:gd name="connsiteX162" fmla="*/ 670752 w 1521568"/>
              <a:gd name="connsiteY162" fmla="*/ 405706 h 1521600"/>
              <a:gd name="connsiteX163" fmla="*/ 655473 w 1521568"/>
              <a:gd name="connsiteY163" fmla="*/ 390427 h 1521600"/>
              <a:gd name="connsiteX164" fmla="*/ 659952 w 1521568"/>
              <a:gd name="connsiteY164" fmla="*/ 379627 h 1521600"/>
              <a:gd name="connsiteX165" fmla="*/ 669836 w 1521568"/>
              <a:gd name="connsiteY165" fmla="*/ 375528 h 1521600"/>
              <a:gd name="connsiteX166" fmla="*/ 671017 w 1521568"/>
              <a:gd name="connsiteY166" fmla="*/ 372679 h 1521600"/>
              <a:gd name="connsiteX167" fmla="*/ 681817 w 1521568"/>
              <a:gd name="connsiteY167" fmla="*/ 368200 h 1521600"/>
              <a:gd name="connsiteX168" fmla="*/ 771849 w 1521568"/>
              <a:gd name="connsiteY168" fmla="*/ 278040 h 1521600"/>
              <a:gd name="connsiteX169" fmla="*/ 787127 w 1521568"/>
              <a:gd name="connsiteY169" fmla="*/ 293319 h 1521600"/>
              <a:gd name="connsiteX170" fmla="*/ 787127 w 1521568"/>
              <a:gd name="connsiteY170" fmla="*/ 300588 h 1521600"/>
              <a:gd name="connsiteX171" fmla="*/ 787127 w 1521568"/>
              <a:gd name="connsiteY171" fmla="*/ 344751 h 1521600"/>
              <a:gd name="connsiteX172" fmla="*/ 787127 w 1521568"/>
              <a:gd name="connsiteY172" fmla="*/ 352020 h 1521600"/>
              <a:gd name="connsiteX173" fmla="*/ 771849 w 1521568"/>
              <a:gd name="connsiteY173" fmla="*/ 367299 h 1521600"/>
              <a:gd name="connsiteX174" fmla="*/ 765929 w 1521568"/>
              <a:gd name="connsiteY174" fmla="*/ 364844 h 1521600"/>
              <a:gd name="connsiteX175" fmla="*/ 760784 w 1521568"/>
              <a:gd name="connsiteY175" fmla="*/ 366978 h 1521600"/>
              <a:gd name="connsiteX176" fmla="*/ 745505 w 1521568"/>
              <a:gd name="connsiteY176" fmla="*/ 351699 h 1521600"/>
              <a:gd name="connsiteX177" fmla="*/ 745505 w 1521568"/>
              <a:gd name="connsiteY177" fmla="*/ 300266 h 1521600"/>
              <a:gd name="connsiteX178" fmla="*/ 749984 w 1521568"/>
              <a:gd name="connsiteY178" fmla="*/ 289466 h 1521600"/>
              <a:gd name="connsiteX179" fmla="*/ 759868 w 1521568"/>
              <a:gd name="connsiteY179" fmla="*/ 285367 h 1521600"/>
              <a:gd name="connsiteX180" fmla="*/ 761049 w 1521568"/>
              <a:gd name="connsiteY180" fmla="*/ 282519 h 1521600"/>
              <a:gd name="connsiteX181" fmla="*/ 771849 w 1521568"/>
              <a:gd name="connsiteY181" fmla="*/ 278040 h 1521600"/>
              <a:gd name="connsiteX182" fmla="*/ 760784 w 1521568"/>
              <a:gd name="connsiteY182" fmla="*/ 38598 h 1521600"/>
              <a:gd name="connsiteX183" fmla="*/ 250120 w 1521568"/>
              <a:gd name="connsiteY183" fmla="*/ 250120 h 1521600"/>
              <a:gd name="connsiteX184" fmla="*/ 38598 w 1521568"/>
              <a:gd name="connsiteY184" fmla="*/ 760816 h 1521600"/>
              <a:gd name="connsiteX185" fmla="*/ 250120 w 1521568"/>
              <a:gd name="connsiteY185" fmla="*/ 1271479 h 1521600"/>
              <a:gd name="connsiteX186" fmla="*/ 760784 w 1521568"/>
              <a:gd name="connsiteY186" fmla="*/ 1483001 h 1521600"/>
              <a:gd name="connsiteX187" fmla="*/ 1271447 w 1521568"/>
              <a:gd name="connsiteY187" fmla="*/ 1271479 h 1521600"/>
              <a:gd name="connsiteX188" fmla="*/ 1482969 w 1521568"/>
              <a:gd name="connsiteY188" fmla="*/ 760816 h 1521600"/>
              <a:gd name="connsiteX189" fmla="*/ 1271447 w 1521568"/>
              <a:gd name="connsiteY189" fmla="*/ 250152 h 1521600"/>
              <a:gd name="connsiteX190" fmla="*/ 760784 w 1521568"/>
              <a:gd name="connsiteY190" fmla="*/ 38598 h 1521600"/>
              <a:gd name="connsiteX191" fmla="*/ 760773 w 1521568"/>
              <a:gd name="connsiteY191" fmla="*/ 0 h 1521600"/>
              <a:gd name="connsiteX192" fmla="*/ 760794 w 1521568"/>
              <a:gd name="connsiteY192" fmla="*/ 0 h 1521600"/>
              <a:gd name="connsiteX193" fmla="*/ 910366 w 1521568"/>
              <a:gd name="connsiteY193" fmla="*/ 14608 h 1521600"/>
              <a:gd name="connsiteX194" fmla="*/ 1298724 w 1521568"/>
              <a:gd name="connsiteY194" fmla="*/ 222843 h 1521600"/>
              <a:gd name="connsiteX195" fmla="*/ 1521568 w 1521568"/>
              <a:gd name="connsiteY195" fmla="*/ 760816 h 1521600"/>
              <a:gd name="connsiteX196" fmla="*/ 1298724 w 1521568"/>
              <a:gd name="connsiteY196" fmla="*/ 1298788 h 1521600"/>
              <a:gd name="connsiteX197" fmla="*/ 760784 w 1521568"/>
              <a:gd name="connsiteY197" fmla="*/ 1521600 h 1521600"/>
              <a:gd name="connsiteX198" fmla="*/ 760784 w 1521568"/>
              <a:gd name="connsiteY198" fmla="*/ 1521568 h 1521600"/>
              <a:gd name="connsiteX199" fmla="*/ 222811 w 1521568"/>
              <a:gd name="connsiteY199" fmla="*/ 1298756 h 1521600"/>
              <a:gd name="connsiteX200" fmla="*/ 14608 w 1521568"/>
              <a:gd name="connsiteY200" fmla="*/ 910384 h 1521600"/>
              <a:gd name="connsiteX201" fmla="*/ 0 w 1521568"/>
              <a:gd name="connsiteY201" fmla="*/ 760826 h 1521600"/>
              <a:gd name="connsiteX202" fmla="*/ 0 w 1521568"/>
              <a:gd name="connsiteY202" fmla="*/ 760805 h 1521600"/>
              <a:gd name="connsiteX203" fmla="*/ 14608 w 1521568"/>
              <a:gd name="connsiteY203" fmla="*/ 611242 h 1521600"/>
              <a:gd name="connsiteX204" fmla="*/ 222844 w 1521568"/>
              <a:gd name="connsiteY204" fmla="*/ 222843 h 1521600"/>
              <a:gd name="connsiteX205" fmla="*/ 611201 w 1521568"/>
              <a:gd name="connsiteY205" fmla="*/ 14613 h 15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521568" h="1521600">
                <a:moveTo>
                  <a:pt x="473575" y="1075589"/>
                </a:moveTo>
                <a:lnTo>
                  <a:pt x="1070122" y="1075589"/>
                </a:lnTo>
                <a:lnTo>
                  <a:pt x="1070122" y="1082859"/>
                </a:lnTo>
                <a:lnTo>
                  <a:pt x="1070122" y="1106147"/>
                </a:lnTo>
                <a:lnTo>
                  <a:pt x="1070122" y="1113417"/>
                </a:lnTo>
                <a:lnTo>
                  <a:pt x="473575" y="1113417"/>
                </a:lnTo>
                <a:lnTo>
                  <a:pt x="473575" y="1113095"/>
                </a:lnTo>
                <a:lnTo>
                  <a:pt x="462510" y="1113095"/>
                </a:lnTo>
                <a:lnTo>
                  <a:pt x="462510" y="1082537"/>
                </a:lnTo>
                <a:lnTo>
                  <a:pt x="473575" y="1082537"/>
                </a:lnTo>
                <a:close/>
                <a:moveTo>
                  <a:pt x="473575" y="1024156"/>
                </a:moveTo>
                <a:lnTo>
                  <a:pt x="1070122" y="1024156"/>
                </a:lnTo>
                <a:lnTo>
                  <a:pt x="1070122" y="1031426"/>
                </a:lnTo>
                <a:lnTo>
                  <a:pt x="1070122" y="1054714"/>
                </a:lnTo>
                <a:lnTo>
                  <a:pt x="1070122" y="1061984"/>
                </a:lnTo>
                <a:lnTo>
                  <a:pt x="473575" y="1061984"/>
                </a:lnTo>
                <a:lnTo>
                  <a:pt x="473575" y="1061662"/>
                </a:lnTo>
                <a:lnTo>
                  <a:pt x="462510" y="1061662"/>
                </a:lnTo>
                <a:lnTo>
                  <a:pt x="462510" y="1031104"/>
                </a:lnTo>
                <a:lnTo>
                  <a:pt x="473575" y="1031104"/>
                </a:lnTo>
                <a:close/>
                <a:moveTo>
                  <a:pt x="473575" y="972723"/>
                </a:moveTo>
                <a:lnTo>
                  <a:pt x="1070122" y="972723"/>
                </a:lnTo>
                <a:lnTo>
                  <a:pt x="1070122" y="979993"/>
                </a:lnTo>
                <a:lnTo>
                  <a:pt x="1070122" y="1003281"/>
                </a:lnTo>
                <a:lnTo>
                  <a:pt x="1070122" y="1010550"/>
                </a:lnTo>
                <a:lnTo>
                  <a:pt x="473575" y="1010550"/>
                </a:lnTo>
                <a:lnTo>
                  <a:pt x="473575" y="1010228"/>
                </a:lnTo>
                <a:lnTo>
                  <a:pt x="462510" y="1010228"/>
                </a:lnTo>
                <a:lnTo>
                  <a:pt x="462510" y="979671"/>
                </a:lnTo>
                <a:lnTo>
                  <a:pt x="473575" y="979671"/>
                </a:lnTo>
                <a:close/>
                <a:moveTo>
                  <a:pt x="768141" y="497344"/>
                </a:moveTo>
                <a:lnTo>
                  <a:pt x="750539" y="502737"/>
                </a:lnTo>
                <a:cubicBezTo>
                  <a:pt x="744435" y="506871"/>
                  <a:pt x="739582" y="512723"/>
                  <a:pt x="736676" y="519596"/>
                </a:cubicBezTo>
                <a:lnTo>
                  <a:pt x="734402" y="530863"/>
                </a:lnTo>
                <a:lnTo>
                  <a:pt x="736676" y="542129"/>
                </a:lnTo>
                <a:cubicBezTo>
                  <a:pt x="742487" y="555875"/>
                  <a:pt x="756087" y="565537"/>
                  <a:pt x="771913" y="565537"/>
                </a:cubicBezTo>
                <a:lnTo>
                  <a:pt x="788402" y="560484"/>
                </a:lnTo>
                <a:lnTo>
                  <a:pt x="796084" y="549077"/>
                </a:lnTo>
                <a:cubicBezTo>
                  <a:pt x="798021" y="544494"/>
                  <a:pt x="799092" y="539458"/>
                  <a:pt x="799092" y="534175"/>
                </a:cubicBezTo>
                <a:cubicBezTo>
                  <a:pt x="799092" y="518325"/>
                  <a:pt x="789449" y="504702"/>
                  <a:pt x="775725" y="498880"/>
                </a:cubicBezTo>
                <a:close/>
                <a:moveTo>
                  <a:pt x="771848" y="406863"/>
                </a:moveTo>
                <a:cubicBezTo>
                  <a:pt x="780244" y="406863"/>
                  <a:pt x="787095" y="413715"/>
                  <a:pt x="787095" y="422142"/>
                </a:cubicBezTo>
                <a:lnTo>
                  <a:pt x="787095" y="429412"/>
                </a:lnTo>
                <a:lnTo>
                  <a:pt x="787095" y="462220"/>
                </a:lnTo>
                <a:cubicBezTo>
                  <a:pt x="815594" y="468975"/>
                  <a:pt x="841294" y="495994"/>
                  <a:pt x="838142" y="531538"/>
                </a:cubicBezTo>
                <a:cubicBezTo>
                  <a:pt x="869021" y="516902"/>
                  <a:pt x="900929" y="509504"/>
                  <a:pt x="933031" y="509504"/>
                </a:cubicBezTo>
                <a:cubicBezTo>
                  <a:pt x="1015697" y="509504"/>
                  <a:pt x="1068932" y="547589"/>
                  <a:pt x="1079385" y="614011"/>
                </a:cubicBezTo>
                <a:lnTo>
                  <a:pt x="1079417" y="614011"/>
                </a:lnTo>
                <a:cubicBezTo>
                  <a:pt x="1152691" y="621730"/>
                  <a:pt x="1189424" y="665219"/>
                  <a:pt x="1185661" y="739907"/>
                </a:cubicBezTo>
                <a:lnTo>
                  <a:pt x="1185212" y="742396"/>
                </a:lnTo>
                <a:lnTo>
                  <a:pt x="1185661" y="747178"/>
                </a:lnTo>
                <a:cubicBezTo>
                  <a:pt x="1182798" y="804079"/>
                  <a:pt x="1110843" y="895783"/>
                  <a:pt x="1068224" y="945383"/>
                </a:cubicBezTo>
                <a:lnTo>
                  <a:pt x="1067516" y="946219"/>
                </a:lnTo>
                <a:lnTo>
                  <a:pt x="1027019" y="946219"/>
                </a:lnTo>
                <a:lnTo>
                  <a:pt x="1027308" y="945897"/>
                </a:lnTo>
                <a:lnTo>
                  <a:pt x="1015986" y="945897"/>
                </a:lnTo>
                <a:lnTo>
                  <a:pt x="1019589" y="941877"/>
                </a:lnTo>
                <a:cubicBezTo>
                  <a:pt x="1049889" y="908102"/>
                  <a:pt x="1079642" y="870275"/>
                  <a:pt x="1101193" y="838142"/>
                </a:cubicBezTo>
                <a:cubicBezTo>
                  <a:pt x="1128309" y="797742"/>
                  <a:pt x="1143170" y="765640"/>
                  <a:pt x="1144199" y="745312"/>
                </a:cubicBezTo>
                <a:cubicBezTo>
                  <a:pt x="1145743" y="714239"/>
                  <a:pt x="1139149" y="690694"/>
                  <a:pt x="1124610" y="675383"/>
                </a:cubicBezTo>
                <a:cubicBezTo>
                  <a:pt x="1118820" y="669272"/>
                  <a:pt x="1111422" y="664246"/>
                  <a:pt x="1102484" y="660330"/>
                </a:cubicBezTo>
                <a:lnTo>
                  <a:pt x="1082125" y="654881"/>
                </a:lnTo>
                <a:lnTo>
                  <a:pt x="1081830" y="671459"/>
                </a:lnTo>
                <a:cubicBezTo>
                  <a:pt x="1079289" y="699830"/>
                  <a:pt x="1065425" y="737367"/>
                  <a:pt x="1040626" y="783074"/>
                </a:cubicBezTo>
                <a:cubicBezTo>
                  <a:pt x="1028563" y="805333"/>
                  <a:pt x="993760" y="865708"/>
                  <a:pt x="932002" y="945286"/>
                </a:cubicBezTo>
                <a:lnTo>
                  <a:pt x="931262" y="946219"/>
                </a:lnTo>
                <a:lnTo>
                  <a:pt x="892631" y="946219"/>
                </a:lnTo>
                <a:lnTo>
                  <a:pt x="892892" y="945897"/>
                </a:lnTo>
                <a:lnTo>
                  <a:pt x="881598" y="945897"/>
                </a:lnTo>
                <a:lnTo>
                  <a:pt x="884782" y="941973"/>
                </a:lnTo>
                <a:cubicBezTo>
                  <a:pt x="886262" y="940172"/>
                  <a:pt x="1031104" y="760912"/>
                  <a:pt x="1040271" y="669014"/>
                </a:cubicBezTo>
                <a:cubicBezTo>
                  <a:pt x="1040625" y="666763"/>
                  <a:pt x="1048506" y="617710"/>
                  <a:pt x="1018945" y="582778"/>
                </a:cubicBezTo>
                <a:cubicBezTo>
                  <a:pt x="1003892" y="564974"/>
                  <a:pt x="981782" y="553756"/>
                  <a:pt x="953009" y="549260"/>
                </a:cubicBezTo>
                <a:lnTo>
                  <a:pt x="930021" y="547590"/>
                </a:lnTo>
                <a:lnTo>
                  <a:pt x="903213" y="549844"/>
                </a:lnTo>
                <a:cubicBezTo>
                  <a:pt x="836624" y="561069"/>
                  <a:pt x="792732" y="606348"/>
                  <a:pt x="787159" y="612371"/>
                </a:cubicBezTo>
                <a:lnTo>
                  <a:pt x="787159" y="938982"/>
                </a:lnTo>
                <a:lnTo>
                  <a:pt x="787159" y="946251"/>
                </a:lnTo>
                <a:lnTo>
                  <a:pt x="756634" y="946251"/>
                </a:lnTo>
                <a:lnTo>
                  <a:pt x="756634" y="945929"/>
                </a:lnTo>
                <a:lnTo>
                  <a:pt x="745569" y="945929"/>
                </a:lnTo>
                <a:lnTo>
                  <a:pt x="745569" y="612049"/>
                </a:lnTo>
                <a:cubicBezTo>
                  <a:pt x="739996" y="606026"/>
                  <a:pt x="696104" y="560747"/>
                  <a:pt x="629515" y="549522"/>
                </a:cubicBezTo>
                <a:lnTo>
                  <a:pt x="606820" y="547614"/>
                </a:lnTo>
                <a:lnTo>
                  <a:pt x="579700" y="549587"/>
                </a:lnTo>
                <a:cubicBezTo>
                  <a:pt x="550914" y="554092"/>
                  <a:pt x="528804" y="565328"/>
                  <a:pt x="513750" y="583132"/>
                </a:cubicBezTo>
                <a:cubicBezTo>
                  <a:pt x="498970" y="600614"/>
                  <a:pt x="493550" y="621602"/>
                  <a:pt x="491869" y="638477"/>
                </a:cubicBezTo>
                <a:lnTo>
                  <a:pt x="491568" y="653811"/>
                </a:lnTo>
                <a:lnTo>
                  <a:pt x="492027" y="659021"/>
                </a:lnTo>
                <a:cubicBezTo>
                  <a:pt x="492218" y="660626"/>
                  <a:pt x="492380" y="661616"/>
                  <a:pt x="492424" y="661874"/>
                </a:cubicBezTo>
                <a:cubicBezTo>
                  <a:pt x="501624" y="753996"/>
                  <a:pt x="646498" y="933224"/>
                  <a:pt x="647946" y="935025"/>
                </a:cubicBezTo>
                <a:lnTo>
                  <a:pt x="651130" y="938949"/>
                </a:lnTo>
                <a:lnTo>
                  <a:pt x="645278" y="938949"/>
                </a:lnTo>
                <a:lnTo>
                  <a:pt x="646062" y="939942"/>
                </a:lnTo>
                <a:cubicBezTo>
                  <a:pt x="647205" y="941377"/>
                  <a:pt x="647856" y="942182"/>
                  <a:pt x="647946" y="942295"/>
                </a:cubicBezTo>
                <a:lnTo>
                  <a:pt x="651130" y="946219"/>
                </a:lnTo>
                <a:lnTo>
                  <a:pt x="612499" y="946219"/>
                </a:lnTo>
                <a:lnTo>
                  <a:pt x="612244" y="945897"/>
                </a:lnTo>
                <a:lnTo>
                  <a:pt x="601434" y="945897"/>
                </a:lnTo>
                <a:lnTo>
                  <a:pt x="600694" y="944964"/>
                </a:lnTo>
                <a:cubicBezTo>
                  <a:pt x="538904" y="865386"/>
                  <a:pt x="504132" y="805011"/>
                  <a:pt x="492038" y="782752"/>
                </a:cubicBezTo>
                <a:cubicBezTo>
                  <a:pt x="467238" y="737045"/>
                  <a:pt x="453375" y="699475"/>
                  <a:pt x="450866" y="671138"/>
                </a:cubicBezTo>
                <a:lnTo>
                  <a:pt x="450582" y="655205"/>
                </a:lnTo>
                <a:lnTo>
                  <a:pt x="430216" y="660652"/>
                </a:lnTo>
                <a:cubicBezTo>
                  <a:pt x="421274" y="664568"/>
                  <a:pt x="413876" y="669594"/>
                  <a:pt x="408086" y="675705"/>
                </a:cubicBezTo>
                <a:cubicBezTo>
                  <a:pt x="400817" y="683361"/>
                  <a:pt x="395541" y="693075"/>
                  <a:pt x="392276" y="704759"/>
                </a:cubicBezTo>
                <a:lnTo>
                  <a:pt x="388980" y="740722"/>
                </a:lnTo>
                <a:lnTo>
                  <a:pt x="391851" y="755763"/>
                </a:lnTo>
                <a:cubicBezTo>
                  <a:pt x="397722" y="775262"/>
                  <a:pt x="411166" y="800894"/>
                  <a:pt x="431502" y="831194"/>
                </a:cubicBezTo>
                <a:cubicBezTo>
                  <a:pt x="453085" y="863328"/>
                  <a:pt x="482807" y="901154"/>
                  <a:pt x="513107" y="934928"/>
                </a:cubicBezTo>
                <a:lnTo>
                  <a:pt x="516710" y="938949"/>
                </a:lnTo>
                <a:lnTo>
                  <a:pt x="510379" y="938949"/>
                </a:lnTo>
                <a:lnTo>
                  <a:pt x="513107" y="942199"/>
                </a:lnTo>
                <a:lnTo>
                  <a:pt x="516710" y="946219"/>
                </a:lnTo>
                <a:lnTo>
                  <a:pt x="476213" y="946219"/>
                </a:lnTo>
                <a:lnTo>
                  <a:pt x="475941" y="945897"/>
                </a:lnTo>
                <a:lnTo>
                  <a:pt x="465148" y="945897"/>
                </a:lnTo>
                <a:lnTo>
                  <a:pt x="464440" y="945061"/>
                </a:lnTo>
                <a:cubicBezTo>
                  <a:pt x="421820" y="895461"/>
                  <a:pt x="349865" y="803757"/>
                  <a:pt x="347003" y="746856"/>
                </a:cubicBezTo>
                <a:cubicBezTo>
                  <a:pt x="344181" y="690839"/>
                  <a:pt x="364137" y="652373"/>
                  <a:pt x="405204" y="633384"/>
                </a:cubicBezTo>
                <a:lnTo>
                  <a:pt x="407920" y="632681"/>
                </a:lnTo>
                <a:lnTo>
                  <a:pt x="416270" y="626435"/>
                </a:lnTo>
                <a:lnTo>
                  <a:pt x="454341" y="616590"/>
                </a:lnTo>
                <a:lnTo>
                  <a:pt x="459146" y="597399"/>
                </a:lnTo>
                <a:cubicBezTo>
                  <a:pt x="466999" y="575207"/>
                  <a:pt x="480633" y="557175"/>
                  <a:pt x="499344" y="543813"/>
                </a:cubicBezTo>
                <a:lnTo>
                  <a:pt x="507389" y="540092"/>
                </a:lnTo>
                <a:lnTo>
                  <a:pt x="510409" y="536837"/>
                </a:lnTo>
                <a:cubicBezTo>
                  <a:pt x="535358" y="519017"/>
                  <a:pt x="569333" y="509504"/>
                  <a:pt x="610666" y="509504"/>
                </a:cubicBezTo>
                <a:cubicBezTo>
                  <a:pt x="626716" y="509504"/>
                  <a:pt x="642719" y="511354"/>
                  <a:pt x="658569" y="515033"/>
                </a:cubicBezTo>
                <a:lnTo>
                  <a:pt x="695600" y="528041"/>
                </a:lnTo>
                <a:lnTo>
                  <a:pt x="697128" y="513629"/>
                </a:lnTo>
                <a:cubicBezTo>
                  <a:pt x="701951" y="498352"/>
                  <a:pt x="712359" y="485950"/>
                  <a:pt x="725094" y="477878"/>
                </a:cubicBezTo>
                <a:lnTo>
                  <a:pt x="731281" y="475252"/>
                </a:lnTo>
                <a:lnTo>
                  <a:pt x="736159" y="470885"/>
                </a:lnTo>
                <a:lnTo>
                  <a:pt x="745536" y="466911"/>
                </a:lnTo>
                <a:lnTo>
                  <a:pt x="745536" y="429122"/>
                </a:lnTo>
                <a:cubicBezTo>
                  <a:pt x="745536" y="424909"/>
                  <a:pt x="747249" y="421089"/>
                  <a:pt x="750012" y="418322"/>
                </a:cubicBezTo>
                <a:lnTo>
                  <a:pt x="759886" y="414216"/>
                </a:lnTo>
                <a:lnTo>
                  <a:pt x="761077" y="411342"/>
                </a:lnTo>
                <a:cubicBezTo>
                  <a:pt x="763839" y="408576"/>
                  <a:pt x="767651" y="406863"/>
                  <a:pt x="771848" y="406863"/>
                </a:cubicBezTo>
                <a:close/>
                <a:moveTo>
                  <a:pt x="810415" y="368200"/>
                </a:moveTo>
                <a:lnTo>
                  <a:pt x="861913" y="368200"/>
                </a:lnTo>
                <a:cubicBezTo>
                  <a:pt x="870340" y="368200"/>
                  <a:pt x="877191" y="375052"/>
                  <a:pt x="877191" y="383479"/>
                </a:cubicBezTo>
                <a:lnTo>
                  <a:pt x="875684" y="387114"/>
                </a:lnTo>
                <a:lnTo>
                  <a:pt x="877191" y="390748"/>
                </a:lnTo>
                <a:cubicBezTo>
                  <a:pt x="877191" y="399176"/>
                  <a:pt x="870340" y="406027"/>
                  <a:pt x="861913" y="406027"/>
                </a:cubicBezTo>
                <a:lnTo>
                  <a:pt x="810415" y="406027"/>
                </a:lnTo>
                <a:lnTo>
                  <a:pt x="809640" y="405706"/>
                </a:lnTo>
                <a:lnTo>
                  <a:pt x="799350" y="405706"/>
                </a:lnTo>
                <a:cubicBezTo>
                  <a:pt x="790923" y="405706"/>
                  <a:pt x="784071" y="398854"/>
                  <a:pt x="784071" y="390427"/>
                </a:cubicBezTo>
                <a:cubicBezTo>
                  <a:pt x="784071" y="386213"/>
                  <a:pt x="785784" y="382393"/>
                  <a:pt x="788550" y="379627"/>
                </a:cubicBezTo>
                <a:lnTo>
                  <a:pt x="798434" y="375528"/>
                </a:lnTo>
                <a:lnTo>
                  <a:pt x="799615" y="372679"/>
                </a:lnTo>
                <a:cubicBezTo>
                  <a:pt x="802382" y="369913"/>
                  <a:pt x="806202" y="368200"/>
                  <a:pt x="810415" y="368200"/>
                </a:cubicBezTo>
                <a:close/>
                <a:moveTo>
                  <a:pt x="681817" y="368200"/>
                </a:moveTo>
                <a:lnTo>
                  <a:pt x="733314" y="368200"/>
                </a:lnTo>
                <a:cubicBezTo>
                  <a:pt x="741742" y="368200"/>
                  <a:pt x="748592" y="375052"/>
                  <a:pt x="748592" y="383479"/>
                </a:cubicBezTo>
                <a:lnTo>
                  <a:pt x="747085" y="387114"/>
                </a:lnTo>
                <a:lnTo>
                  <a:pt x="748592" y="390748"/>
                </a:lnTo>
                <a:cubicBezTo>
                  <a:pt x="748592" y="399176"/>
                  <a:pt x="741742" y="406027"/>
                  <a:pt x="733314" y="406027"/>
                </a:cubicBezTo>
                <a:lnTo>
                  <a:pt x="681817" y="406027"/>
                </a:lnTo>
                <a:lnTo>
                  <a:pt x="681042" y="405706"/>
                </a:lnTo>
                <a:lnTo>
                  <a:pt x="670752" y="405706"/>
                </a:lnTo>
                <a:cubicBezTo>
                  <a:pt x="662324" y="405706"/>
                  <a:pt x="655473" y="398854"/>
                  <a:pt x="655473" y="390427"/>
                </a:cubicBezTo>
                <a:cubicBezTo>
                  <a:pt x="655473" y="386213"/>
                  <a:pt x="657185" y="382393"/>
                  <a:pt x="659952" y="379627"/>
                </a:cubicBezTo>
                <a:lnTo>
                  <a:pt x="669836" y="375528"/>
                </a:lnTo>
                <a:lnTo>
                  <a:pt x="671017" y="372679"/>
                </a:lnTo>
                <a:cubicBezTo>
                  <a:pt x="673783" y="369913"/>
                  <a:pt x="677603" y="368200"/>
                  <a:pt x="681817" y="368200"/>
                </a:cubicBezTo>
                <a:close/>
                <a:moveTo>
                  <a:pt x="771849" y="278040"/>
                </a:moveTo>
                <a:cubicBezTo>
                  <a:pt x="780276" y="278040"/>
                  <a:pt x="787127" y="284891"/>
                  <a:pt x="787127" y="293319"/>
                </a:cubicBezTo>
                <a:lnTo>
                  <a:pt x="787127" y="300588"/>
                </a:lnTo>
                <a:lnTo>
                  <a:pt x="787127" y="344751"/>
                </a:lnTo>
                <a:lnTo>
                  <a:pt x="787127" y="352020"/>
                </a:lnTo>
                <a:cubicBezTo>
                  <a:pt x="787127" y="360448"/>
                  <a:pt x="780276" y="367299"/>
                  <a:pt x="771849" y="367299"/>
                </a:cubicBezTo>
                <a:lnTo>
                  <a:pt x="765929" y="364844"/>
                </a:lnTo>
                <a:lnTo>
                  <a:pt x="760784" y="366978"/>
                </a:lnTo>
                <a:cubicBezTo>
                  <a:pt x="752356" y="366978"/>
                  <a:pt x="745505" y="360127"/>
                  <a:pt x="745505" y="351699"/>
                </a:cubicBezTo>
                <a:lnTo>
                  <a:pt x="745505" y="300266"/>
                </a:lnTo>
                <a:cubicBezTo>
                  <a:pt x="745505" y="296053"/>
                  <a:pt x="747217" y="292233"/>
                  <a:pt x="749984" y="289466"/>
                </a:cubicBezTo>
                <a:lnTo>
                  <a:pt x="759868" y="285367"/>
                </a:lnTo>
                <a:lnTo>
                  <a:pt x="761049" y="282519"/>
                </a:lnTo>
                <a:cubicBezTo>
                  <a:pt x="763815" y="279752"/>
                  <a:pt x="767635" y="278040"/>
                  <a:pt x="771849" y="278040"/>
                </a:cubicBezTo>
                <a:close/>
                <a:moveTo>
                  <a:pt x="760784" y="38598"/>
                </a:moveTo>
                <a:cubicBezTo>
                  <a:pt x="567885" y="38598"/>
                  <a:pt x="386535" y="113705"/>
                  <a:pt x="250120" y="250120"/>
                </a:cubicBezTo>
                <a:cubicBezTo>
                  <a:pt x="113737" y="386535"/>
                  <a:pt x="38598" y="567885"/>
                  <a:pt x="38598" y="760816"/>
                </a:cubicBezTo>
                <a:cubicBezTo>
                  <a:pt x="38598" y="953746"/>
                  <a:pt x="113705" y="1135064"/>
                  <a:pt x="250120" y="1271479"/>
                </a:cubicBezTo>
                <a:cubicBezTo>
                  <a:pt x="386535" y="1407862"/>
                  <a:pt x="567885" y="1483001"/>
                  <a:pt x="760784" y="1483001"/>
                </a:cubicBezTo>
                <a:cubicBezTo>
                  <a:pt x="953682" y="1483001"/>
                  <a:pt x="1135032" y="1407894"/>
                  <a:pt x="1271447" y="1271479"/>
                </a:cubicBezTo>
                <a:cubicBezTo>
                  <a:pt x="1407862" y="1135064"/>
                  <a:pt x="1482969" y="953714"/>
                  <a:pt x="1482969" y="760816"/>
                </a:cubicBezTo>
                <a:cubicBezTo>
                  <a:pt x="1482969" y="567918"/>
                  <a:pt x="1407862" y="386535"/>
                  <a:pt x="1271447" y="250152"/>
                </a:cubicBezTo>
                <a:cubicBezTo>
                  <a:pt x="1135032" y="113769"/>
                  <a:pt x="953682" y="38598"/>
                  <a:pt x="760784" y="38598"/>
                </a:cubicBezTo>
                <a:close/>
                <a:moveTo>
                  <a:pt x="760773" y="0"/>
                </a:moveTo>
                <a:lnTo>
                  <a:pt x="760794" y="0"/>
                </a:lnTo>
                <a:lnTo>
                  <a:pt x="910366" y="14608"/>
                </a:lnTo>
                <a:cubicBezTo>
                  <a:pt x="1056564" y="43600"/>
                  <a:pt x="1190960" y="115056"/>
                  <a:pt x="1298724" y="222843"/>
                </a:cubicBezTo>
                <a:cubicBezTo>
                  <a:pt x="1442408" y="366560"/>
                  <a:pt x="1521568" y="557592"/>
                  <a:pt x="1521568" y="760816"/>
                </a:cubicBezTo>
                <a:cubicBezTo>
                  <a:pt x="1521568" y="964039"/>
                  <a:pt x="1442440" y="1155072"/>
                  <a:pt x="1298724" y="1298788"/>
                </a:cubicBezTo>
                <a:cubicBezTo>
                  <a:pt x="1155039" y="1442472"/>
                  <a:pt x="963975" y="1521600"/>
                  <a:pt x="760784" y="1521600"/>
                </a:cubicBezTo>
                <a:lnTo>
                  <a:pt x="760784" y="1521568"/>
                </a:lnTo>
                <a:cubicBezTo>
                  <a:pt x="557560" y="1521568"/>
                  <a:pt x="366528" y="1442440"/>
                  <a:pt x="222811" y="1298756"/>
                </a:cubicBezTo>
                <a:cubicBezTo>
                  <a:pt x="115048" y="1190993"/>
                  <a:pt x="43598" y="1056578"/>
                  <a:pt x="14608" y="910384"/>
                </a:cubicBezTo>
                <a:lnTo>
                  <a:pt x="0" y="760826"/>
                </a:lnTo>
                <a:lnTo>
                  <a:pt x="0" y="760805"/>
                </a:lnTo>
                <a:lnTo>
                  <a:pt x="14608" y="611242"/>
                </a:lnTo>
                <a:cubicBezTo>
                  <a:pt x="43600" y="465039"/>
                  <a:pt x="115056" y="330607"/>
                  <a:pt x="222844" y="222843"/>
                </a:cubicBezTo>
                <a:cubicBezTo>
                  <a:pt x="330607" y="115080"/>
                  <a:pt x="465003" y="43612"/>
                  <a:pt x="611201" y="14613"/>
                </a:cubicBezTo>
                <a:close/>
              </a:path>
            </a:pathLst>
          </a:custGeom>
          <a:solidFill>
            <a:schemeClr val="bg1"/>
          </a:solidFill>
        </p:spPr>
        <p:txBody>
          <a:bodyPr wrap="square">
            <a:noAutofit/>
          </a:bodyPr>
          <a:lstStyle>
            <a:lvl1pPr marL="0" indent="0">
              <a:buFontTx/>
              <a:buNone/>
              <a:defRPr sz="600">
                <a:noFill/>
              </a:defRPr>
            </a:lvl1pPr>
          </a:lstStyle>
          <a:p>
            <a:pPr lvl="0"/>
            <a:r>
              <a:rPr lang="da-DK" dirty="0"/>
              <a:t>Set text to 'No Fill'</a:t>
            </a:r>
          </a:p>
        </p:txBody>
      </p:sp>
      <p:sp>
        <p:nvSpPr>
          <p:cNvPr id="10" name="Text Placeholder 9">
            <a:extLst>
              <a:ext uri="{FF2B5EF4-FFF2-40B4-BE49-F238E27FC236}">
                <a16:creationId xmlns:a16="http://schemas.microsoft.com/office/drawing/2014/main" id="{4487D342-49DC-D2AD-6B42-AB2FC6D95393}"/>
              </a:ext>
            </a:extLst>
          </p:cNvPr>
          <p:cNvSpPr>
            <a:spLocks noGrp="1"/>
          </p:cNvSpPr>
          <p:nvPr>
            <p:ph type="body" sz="quarter" idx="20" hasCustomPrompt="1"/>
          </p:nvPr>
        </p:nvSpPr>
        <p:spPr>
          <a:xfrm>
            <a:off x="7162566" y="4324706"/>
            <a:ext cx="1568288" cy="486146"/>
          </a:xfrm>
          <a:custGeom>
            <a:avLst/>
            <a:gdLst>
              <a:gd name="connsiteX0" fmla="*/ 197027 w 2091050"/>
              <a:gd name="connsiteY0" fmla="*/ 461156 h 648194"/>
              <a:gd name="connsiteX1" fmla="*/ 451152 w 2091050"/>
              <a:gd name="connsiteY1" fmla="*/ 461156 h 648194"/>
              <a:gd name="connsiteX2" fmla="*/ 451152 w 2091050"/>
              <a:gd name="connsiteY2" fmla="*/ 461293 h 648194"/>
              <a:gd name="connsiteX3" fmla="*/ 451221 w 2091050"/>
              <a:gd name="connsiteY3" fmla="*/ 461293 h 648194"/>
              <a:gd name="connsiteX4" fmla="*/ 451221 w 2091050"/>
              <a:gd name="connsiteY4" fmla="*/ 474310 h 648194"/>
              <a:gd name="connsiteX5" fmla="*/ 197096 w 2091050"/>
              <a:gd name="connsiteY5" fmla="*/ 474310 h 648194"/>
              <a:gd name="connsiteX6" fmla="*/ 197096 w 2091050"/>
              <a:gd name="connsiteY6" fmla="*/ 474173 h 648194"/>
              <a:gd name="connsiteX7" fmla="*/ 197027 w 2091050"/>
              <a:gd name="connsiteY7" fmla="*/ 474173 h 648194"/>
              <a:gd name="connsiteX8" fmla="*/ 197027 w 2091050"/>
              <a:gd name="connsiteY8" fmla="*/ 439245 h 648194"/>
              <a:gd name="connsiteX9" fmla="*/ 451153 w 2091050"/>
              <a:gd name="connsiteY9" fmla="*/ 439245 h 648194"/>
              <a:gd name="connsiteX10" fmla="*/ 451153 w 2091050"/>
              <a:gd name="connsiteY10" fmla="*/ 439382 h 648194"/>
              <a:gd name="connsiteX11" fmla="*/ 451221 w 2091050"/>
              <a:gd name="connsiteY11" fmla="*/ 439382 h 648194"/>
              <a:gd name="connsiteX12" fmla="*/ 451221 w 2091050"/>
              <a:gd name="connsiteY12" fmla="*/ 452400 h 648194"/>
              <a:gd name="connsiteX13" fmla="*/ 197096 w 2091050"/>
              <a:gd name="connsiteY13" fmla="*/ 452400 h 648194"/>
              <a:gd name="connsiteX14" fmla="*/ 197096 w 2091050"/>
              <a:gd name="connsiteY14" fmla="*/ 452263 h 648194"/>
              <a:gd name="connsiteX15" fmla="*/ 197027 w 2091050"/>
              <a:gd name="connsiteY15" fmla="*/ 452263 h 648194"/>
              <a:gd name="connsiteX16" fmla="*/ 197027 w 2091050"/>
              <a:gd name="connsiteY16" fmla="*/ 417335 h 648194"/>
              <a:gd name="connsiteX17" fmla="*/ 451152 w 2091050"/>
              <a:gd name="connsiteY17" fmla="*/ 417335 h 648194"/>
              <a:gd name="connsiteX18" fmla="*/ 451152 w 2091050"/>
              <a:gd name="connsiteY18" fmla="*/ 417472 h 648194"/>
              <a:gd name="connsiteX19" fmla="*/ 451221 w 2091050"/>
              <a:gd name="connsiteY19" fmla="*/ 417472 h 648194"/>
              <a:gd name="connsiteX20" fmla="*/ 451221 w 2091050"/>
              <a:gd name="connsiteY20" fmla="*/ 430489 h 648194"/>
              <a:gd name="connsiteX21" fmla="*/ 197096 w 2091050"/>
              <a:gd name="connsiteY21" fmla="*/ 430489 h 648194"/>
              <a:gd name="connsiteX22" fmla="*/ 197096 w 2091050"/>
              <a:gd name="connsiteY22" fmla="*/ 430352 h 648194"/>
              <a:gd name="connsiteX23" fmla="*/ 197027 w 2091050"/>
              <a:gd name="connsiteY23" fmla="*/ 430352 h 648194"/>
              <a:gd name="connsiteX24" fmla="*/ 1446514 w 2091050"/>
              <a:gd name="connsiteY24" fmla="*/ 341876 h 648194"/>
              <a:gd name="connsiteX25" fmla="*/ 1420808 w 2091050"/>
              <a:gd name="connsiteY25" fmla="*/ 356921 h 648194"/>
              <a:gd name="connsiteX26" fmla="*/ 1425192 w 2091050"/>
              <a:gd name="connsiteY26" fmla="*/ 367198 h 648194"/>
              <a:gd name="connsiteX27" fmla="*/ 1436456 w 2091050"/>
              <a:gd name="connsiteY27" fmla="*/ 370897 h 648194"/>
              <a:gd name="connsiteX28" fmla="*/ 1436456 w 2091050"/>
              <a:gd name="connsiteY28" fmla="*/ 370911 h 648194"/>
              <a:gd name="connsiteX29" fmla="*/ 1448925 w 2091050"/>
              <a:gd name="connsiteY29" fmla="*/ 367513 h 648194"/>
              <a:gd name="connsiteX30" fmla="*/ 1457476 w 2091050"/>
              <a:gd name="connsiteY30" fmla="*/ 358661 h 648194"/>
              <a:gd name="connsiteX31" fmla="*/ 1457476 w 2091050"/>
              <a:gd name="connsiteY31" fmla="*/ 341876 h 648194"/>
              <a:gd name="connsiteX32" fmla="*/ 1312325 w 2091050"/>
              <a:gd name="connsiteY32" fmla="*/ 341876 h 648194"/>
              <a:gd name="connsiteX33" fmla="*/ 1286619 w 2091050"/>
              <a:gd name="connsiteY33" fmla="*/ 356921 h 648194"/>
              <a:gd name="connsiteX34" fmla="*/ 1291004 w 2091050"/>
              <a:gd name="connsiteY34" fmla="*/ 367198 h 648194"/>
              <a:gd name="connsiteX35" fmla="*/ 1302268 w 2091050"/>
              <a:gd name="connsiteY35" fmla="*/ 370897 h 648194"/>
              <a:gd name="connsiteX36" fmla="*/ 1302281 w 2091050"/>
              <a:gd name="connsiteY36" fmla="*/ 370911 h 648194"/>
              <a:gd name="connsiteX37" fmla="*/ 1314750 w 2091050"/>
              <a:gd name="connsiteY37" fmla="*/ 367513 h 648194"/>
              <a:gd name="connsiteX38" fmla="*/ 1323287 w 2091050"/>
              <a:gd name="connsiteY38" fmla="*/ 358661 h 648194"/>
              <a:gd name="connsiteX39" fmla="*/ 1323287 w 2091050"/>
              <a:gd name="connsiteY39" fmla="*/ 341876 h 648194"/>
              <a:gd name="connsiteX40" fmla="*/ 1141387 w 2091050"/>
              <a:gd name="connsiteY40" fmla="*/ 341876 h 648194"/>
              <a:gd name="connsiteX41" fmla="*/ 1115681 w 2091050"/>
              <a:gd name="connsiteY41" fmla="*/ 356921 h 648194"/>
              <a:gd name="connsiteX42" fmla="*/ 1120066 w 2091050"/>
              <a:gd name="connsiteY42" fmla="*/ 367198 h 648194"/>
              <a:gd name="connsiteX43" fmla="*/ 1131329 w 2091050"/>
              <a:gd name="connsiteY43" fmla="*/ 370897 h 648194"/>
              <a:gd name="connsiteX44" fmla="*/ 1131343 w 2091050"/>
              <a:gd name="connsiteY44" fmla="*/ 370911 h 648194"/>
              <a:gd name="connsiteX45" fmla="*/ 1143812 w 2091050"/>
              <a:gd name="connsiteY45" fmla="*/ 367513 h 648194"/>
              <a:gd name="connsiteX46" fmla="*/ 1152349 w 2091050"/>
              <a:gd name="connsiteY46" fmla="*/ 358661 h 648194"/>
              <a:gd name="connsiteX47" fmla="*/ 1152349 w 2091050"/>
              <a:gd name="connsiteY47" fmla="*/ 341876 h 648194"/>
              <a:gd name="connsiteX48" fmla="*/ 1220327 w 2091050"/>
              <a:gd name="connsiteY48" fmla="*/ 310127 h 648194"/>
              <a:gd name="connsiteX49" fmla="*/ 1204295 w 2091050"/>
              <a:gd name="connsiteY49" fmla="*/ 318061 h 648194"/>
              <a:gd name="connsiteX50" fmla="*/ 1198553 w 2091050"/>
              <a:gd name="connsiteY50" fmla="*/ 341574 h 648194"/>
              <a:gd name="connsiteX51" fmla="*/ 1204295 w 2091050"/>
              <a:gd name="connsiteY51" fmla="*/ 363348 h 648194"/>
              <a:gd name="connsiteX52" fmla="*/ 1220176 w 2091050"/>
              <a:gd name="connsiteY52" fmla="*/ 371213 h 648194"/>
              <a:gd name="connsiteX53" fmla="*/ 1239606 w 2091050"/>
              <a:gd name="connsiteY53" fmla="*/ 359264 h 648194"/>
              <a:gd name="connsiteX54" fmla="*/ 1239606 w 2091050"/>
              <a:gd name="connsiteY54" fmla="*/ 321692 h 648194"/>
              <a:gd name="connsiteX55" fmla="*/ 1220327 w 2091050"/>
              <a:gd name="connsiteY55" fmla="*/ 310127 h 648194"/>
              <a:gd name="connsiteX56" fmla="*/ 1977196 w 2091050"/>
              <a:gd name="connsiteY56" fmla="*/ 309757 h 648194"/>
              <a:gd name="connsiteX57" fmla="*/ 1962987 w 2091050"/>
              <a:gd name="connsiteY57" fmla="*/ 315923 h 648194"/>
              <a:gd name="connsiteX58" fmla="*/ 1955875 w 2091050"/>
              <a:gd name="connsiteY58" fmla="*/ 333202 h 648194"/>
              <a:gd name="connsiteX59" fmla="*/ 1996859 w 2091050"/>
              <a:gd name="connsiteY59" fmla="*/ 333202 h 648194"/>
              <a:gd name="connsiteX60" fmla="*/ 1996859 w 2091050"/>
              <a:gd name="connsiteY60" fmla="*/ 332147 h 648194"/>
              <a:gd name="connsiteX61" fmla="*/ 1991118 w 2091050"/>
              <a:gd name="connsiteY61" fmla="*/ 315622 h 648194"/>
              <a:gd name="connsiteX62" fmla="*/ 1977210 w 2091050"/>
              <a:gd name="connsiteY62" fmla="*/ 309757 h 648194"/>
              <a:gd name="connsiteX63" fmla="*/ 1778675 w 2091050"/>
              <a:gd name="connsiteY63" fmla="*/ 309757 h 648194"/>
              <a:gd name="connsiteX64" fmla="*/ 1764465 w 2091050"/>
              <a:gd name="connsiteY64" fmla="*/ 315923 h 648194"/>
              <a:gd name="connsiteX65" fmla="*/ 1757354 w 2091050"/>
              <a:gd name="connsiteY65" fmla="*/ 333202 h 648194"/>
              <a:gd name="connsiteX66" fmla="*/ 1798338 w 2091050"/>
              <a:gd name="connsiteY66" fmla="*/ 333202 h 648194"/>
              <a:gd name="connsiteX67" fmla="*/ 1798338 w 2091050"/>
              <a:gd name="connsiteY67" fmla="*/ 332147 h 648194"/>
              <a:gd name="connsiteX68" fmla="*/ 1792596 w 2091050"/>
              <a:gd name="connsiteY68" fmla="*/ 315622 h 648194"/>
              <a:gd name="connsiteX69" fmla="*/ 1778688 w 2091050"/>
              <a:gd name="connsiteY69" fmla="*/ 309757 h 648194"/>
              <a:gd name="connsiteX70" fmla="*/ 932589 w 2091050"/>
              <a:gd name="connsiteY70" fmla="*/ 299768 h 648194"/>
              <a:gd name="connsiteX71" fmla="*/ 946579 w 2091050"/>
              <a:gd name="connsiteY71" fmla="*/ 299768 h 648194"/>
              <a:gd name="connsiteX72" fmla="*/ 946579 w 2091050"/>
              <a:gd name="connsiteY72" fmla="*/ 381572 h 648194"/>
              <a:gd name="connsiteX73" fmla="*/ 932589 w 2091050"/>
              <a:gd name="connsiteY73" fmla="*/ 381572 h 648194"/>
              <a:gd name="connsiteX74" fmla="*/ 1613930 w 2091050"/>
              <a:gd name="connsiteY74" fmla="*/ 299741 h 648194"/>
              <a:gd name="connsiteX75" fmla="*/ 1629208 w 2091050"/>
              <a:gd name="connsiteY75" fmla="*/ 299741 h 648194"/>
              <a:gd name="connsiteX76" fmla="*/ 1649625 w 2091050"/>
              <a:gd name="connsiteY76" fmla="*/ 361059 h 648194"/>
              <a:gd name="connsiteX77" fmla="*/ 1649639 w 2091050"/>
              <a:gd name="connsiteY77" fmla="*/ 361087 h 648194"/>
              <a:gd name="connsiteX78" fmla="*/ 1668685 w 2091050"/>
              <a:gd name="connsiteY78" fmla="*/ 299768 h 648194"/>
              <a:gd name="connsiteX79" fmla="*/ 1683648 w 2091050"/>
              <a:gd name="connsiteY79" fmla="*/ 299768 h 648194"/>
              <a:gd name="connsiteX80" fmla="*/ 1650762 w 2091050"/>
              <a:gd name="connsiteY80" fmla="*/ 394192 h 648194"/>
              <a:gd name="connsiteX81" fmla="*/ 1626495 w 2091050"/>
              <a:gd name="connsiteY81" fmla="*/ 414608 h 648194"/>
              <a:gd name="connsiteX82" fmla="*/ 1623850 w 2091050"/>
              <a:gd name="connsiteY82" fmla="*/ 414375 h 648194"/>
              <a:gd name="connsiteX83" fmla="*/ 1618630 w 2091050"/>
              <a:gd name="connsiteY83" fmla="*/ 413389 h 648194"/>
              <a:gd name="connsiteX84" fmla="*/ 1618630 w 2091050"/>
              <a:gd name="connsiteY84" fmla="*/ 402043 h 648194"/>
              <a:gd name="connsiteX85" fmla="*/ 1622412 w 2091050"/>
              <a:gd name="connsiteY85" fmla="*/ 402345 h 648194"/>
              <a:gd name="connsiteX86" fmla="*/ 1633483 w 2091050"/>
              <a:gd name="connsiteY86" fmla="*/ 399467 h 648194"/>
              <a:gd name="connsiteX87" fmla="*/ 1640019 w 2091050"/>
              <a:gd name="connsiteY87" fmla="*/ 388957 h 648194"/>
              <a:gd name="connsiteX88" fmla="*/ 1643116 w 2091050"/>
              <a:gd name="connsiteY88" fmla="*/ 380640 h 648194"/>
              <a:gd name="connsiteX89" fmla="*/ 1441019 w 2091050"/>
              <a:gd name="connsiteY89" fmla="*/ 298288 h 648194"/>
              <a:gd name="connsiteX90" fmla="*/ 1463176 w 2091050"/>
              <a:gd name="connsiteY90" fmla="*/ 305358 h 648194"/>
              <a:gd name="connsiteX91" fmla="*/ 1471493 w 2091050"/>
              <a:gd name="connsiteY91" fmla="*/ 324830 h 648194"/>
              <a:gd name="connsiteX92" fmla="*/ 1471493 w 2091050"/>
              <a:gd name="connsiteY92" fmla="*/ 362484 h 648194"/>
              <a:gd name="connsiteX93" fmla="*/ 1474371 w 2091050"/>
              <a:gd name="connsiteY93" fmla="*/ 380407 h 648194"/>
              <a:gd name="connsiteX94" fmla="*/ 1474371 w 2091050"/>
              <a:gd name="connsiteY94" fmla="*/ 381613 h 648194"/>
              <a:gd name="connsiteX95" fmla="*/ 1459709 w 2091050"/>
              <a:gd name="connsiteY95" fmla="*/ 381613 h 648194"/>
              <a:gd name="connsiteX96" fmla="*/ 1459668 w 2091050"/>
              <a:gd name="connsiteY96" fmla="*/ 381572 h 648194"/>
              <a:gd name="connsiteX97" fmla="*/ 1457708 w 2091050"/>
              <a:gd name="connsiteY97" fmla="*/ 372953 h 648194"/>
              <a:gd name="connsiteX98" fmla="*/ 1434428 w 2091050"/>
              <a:gd name="connsiteY98" fmla="*/ 383079 h 648194"/>
              <a:gd name="connsiteX99" fmla="*/ 1414587 w 2091050"/>
              <a:gd name="connsiteY99" fmla="*/ 376241 h 648194"/>
              <a:gd name="connsiteX100" fmla="*/ 1406831 w 2091050"/>
              <a:gd name="connsiteY100" fmla="*/ 358894 h 648194"/>
              <a:gd name="connsiteX101" fmla="*/ 1416546 w 2091050"/>
              <a:gd name="connsiteY101" fmla="*/ 339053 h 648194"/>
              <a:gd name="connsiteX102" fmla="*/ 1443883 w 2091050"/>
              <a:gd name="connsiteY102" fmla="*/ 331982 h 648194"/>
              <a:gd name="connsiteX103" fmla="*/ 1457489 w 2091050"/>
              <a:gd name="connsiteY103" fmla="*/ 331982 h 648194"/>
              <a:gd name="connsiteX104" fmla="*/ 1457489 w 2091050"/>
              <a:gd name="connsiteY104" fmla="*/ 325556 h 648194"/>
              <a:gd name="connsiteX105" fmla="*/ 1453104 w 2091050"/>
              <a:gd name="connsiteY105" fmla="*/ 313882 h 648194"/>
              <a:gd name="connsiteX106" fmla="*/ 1440183 w 2091050"/>
              <a:gd name="connsiteY106" fmla="*/ 309538 h 648194"/>
              <a:gd name="connsiteX107" fmla="*/ 1427631 w 2091050"/>
              <a:gd name="connsiteY107" fmla="*/ 313320 h 648194"/>
              <a:gd name="connsiteX108" fmla="*/ 1422562 w 2091050"/>
              <a:gd name="connsiteY108" fmla="*/ 322473 h 648194"/>
              <a:gd name="connsiteX109" fmla="*/ 1408503 w 2091050"/>
              <a:gd name="connsiteY109" fmla="*/ 322473 h 648194"/>
              <a:gd name="connsiteX110" fmla="*/ 1412846 w 2091050"/>
              <a:gd name="connsiteY110" fmla="*/ 310648 h 648194"/>
              <a:gd name="connsiteX111" fmla="*/ 1424644 w 2091050"/>
              <a:gd name="connsiteY111" fmla="*/ 301618 h 648194"/>
              <a:gd name="connsiteX112" fmla="*/ 1441019 w 2091050"/>
              <a:gd name="connsiteY112" fmla="*/ 298288 h 648194"/>
              <a:gd name="connsiteX113" fmla="*/ 1306817 w 2091050"/>
              <a:gd name="connsiteY113" fmla="*/ 298288 h 648194"/>
              <a:gd name="connsiteX114" fmla="*/ 1328974 w 2091050"/>
              <a:gd name="connsiteY114" fmla="*/ 305358 h 648194"/>
              <a:gd name="connsiteX115" fmla="*/ 1337291 w 2091050"/>
              <a:gd name="connsiteY115" fmla="*/ 324830 h 648194"/>
              <a:gd name="connsiteX116" fmla="*/ 1337291 w 2091050"/>
              <a:gd name="connsiteY116" fmla="*/ 362484 h 648194"/>
              <a:gd name="connsiteX117" fmla="*/ 1340168 w 2091050"/>
              <a:gd name="connsiteY117" fmla="*/ 380407 h 648194"/>
              <a:gd name="connsiteX118" fmla="*/ 1340168 w 2091050"/>
              <a:gd name="connsiteY118" fmla="*/ 381613 h 648194"/>
              <a:gd name="connsiteX119" fmla="*/ 1325507 w 2091050"/>
              <a:gd name="connsiteY119" fmla="*/ 381613 h 648194"/>
              <a:gd name="connsiteX120" fmla="*/ 1325480 w 2091050"/>
              <a:gd name="connsiteY120" fmla="*/ 381572 h 648194"/>
              <a:gd name="connsiteX121" fmla="*/ 1323520 w 2091050"/>
              <a:gd name="connsiteY121" fmla="*/ 372953 h 648194"/>
              <a:gd name="connsiteX122" fmla="*/ 1300239 w 2091050"/>
              <a:gd name="connsiteY122" fmla="*/ 383079 h 648194"/>
              <a:gd name="connsiteX123" fmla="*/ 1280398 w 2091050"/>
              <a:gd name="connsiteY123" fmla="*/ 376241 h 648194"/>
              <a:gd name="connsiteX124" fmla="*/ 1272643 w 2091050"/>
              <a:gd name="connsiteY124" fmla="*/ 358894 h 648194"/>
              <a:gd name="connsiteX125" fmla="*/ 1282358 w 2091050"/>
              <a:gd name="connsiteY125" fmla="*/ 339053 h 648194"/>
              <a:gd name="connsiteX126" fmla="*/ 1309694 w 2091050"/>
              <a:gd name="connsiteY126" fmla="*/ 331982 h 648194"/>
              <a:gd name="connsiteX127" fmla="*/ 1323301 w 2091050"/>
              <a:gd name="connsiteY127" fmla="*/ 331982 h 648194"/>
              <a:gd name="connsiteX128" fmla="*/ 1323301 w 2091050"/>
              <a:gd name="connsiteY128" fmla="*/ 325556 h 648194"/>
              <a:gd name="connsiteX129" fmla="*/ 1318916 w 2091050"/>
              <a:gd name="connsiteY129" fmla="*/ 313882 h 648194"/>
              <a:gd name="connsiteX130" fmla="*/ 1305981 w 2091050"/>
              <a:gd name="connsiteY130" fmla="*/ 309538 h 648194"/>
              <a:gd name="connsiteX131" fmla="*/ 1293429 w 2091050"/>
              <a:gd name="connsiteY131" fmla="*/ 313320 h 648194"/>
              <a:gd name="connsiteX132" fmla="*/ 1288359 w 2091050"/>
              <a:gd name="connsiteY132" fmla="*/ 322473 h 648194"/>
              <a:gd name="connsiteX133" fmla="*/ 1274301 w 2091050"/>
              <a:gd name="connsiteY133" fmla="*/ 322473 h 648194"/>
              <a:gd name="connsiteX134" fmla="*/ 1278644 w 2091050"/>
              <a:gd name="connsiteY134" fmla="*/ 310648 h 648194"/>
              <a:gd name="connsiteX135" fmla="*/ 1290442 w 2091050"/>
              <a:gd name="connsiteY135" fmla="*/ 301618 h 648194"/>
              <a:gd name="connsiteX136" fmla="*/ 1306817 w 2091050"/>
              <a:gd name="connsiteY136" fmla="*/ 298288 h 648194"/>
              <a:gd name="connsiteX137" fmla="*/ 1135892 w 2091050"/>
              <a:gd name="connsiteY137" fmla="*/ 298288 h 648194"/>
              <a:gd name="connsiteX138" fmla="*/ 1158049 w 2091050"/>
              <a:gd name="connsiteY138" fmla="*/ 305358 h 648194"/>
              <a:gd name="connsiteX139" fmla="*/ 1166366 w 2091050"/>
              <a:gd name="connsiteY139" fmla="*/ 324830 h 648194"/>
              <a:gd name="connsiteX140" fmla="*/ 1166366 w 2091050"/>
              <a:gd name="connsiteY140" fmla="*/ 362484 h 648194"/>
              <a:gd name="connsiteX141" fmla="*/ 1169244 w 2091050"/>
              <a:gd name="connsiteY141" fmla="*/ 380407 h 648194"/>
              <a:gd name="connsiteX142" fmla="*/ 1169244 w 2091050"/>
              <a:gd name="connsiteY142" fmla="*/ 381613 h 648194"/>
              <a:gd name="connsiteX143" fmla="*/ 1154582 w 2091050"/>
              <a:gd name="connsiteY143" fmla="*/ 381613 h 648194"/>
              <a:gd name="connsiteX144" fmla="*/ 1154555 w 2091050"/>
              <a:gd name="connsiteY144" fmla="*/ 381572 h 648194"/>
              <a:gd name="connsiteX145" fmla="*/ 1152596 w 2091050"/>
              <a:gd name="connsiteY145" fmla="*/ 372953 h 648194"/>
              <a:gd name="connsiteX146" fmla="*/ 1129315 w 2091050"/>
              <a:gd name="connsiteY146" fmla="*/ 383079 h 648194"/>
              <a:gd name="connsiteX147" fmla="*/ 1109474 w 2091050"/>
              <a:gd name="connsiteY147" fmla="*/ 376241 h 648194"/>
              <a:gd name="connsiteX148" fmla="*/ 1101718 w 2091050"/>
              <a:gd name="connsiteY148" fmla="*/ 358894 h 648194"/>
              <a:gd name="connsiteX149" fmla="*/ 1111433 w 2091050"/>
              <a:gd name="connsiteY149" fmla="*/ 339053 h 648194"/>
              <a:gd name="connsiteX150" fmla="*/ 1138770 w 2091050"/>
              <a:gd name="connsiteY150" fmla="*/ 331982 h 648194"/>
              <a:gd name="connsiteX151" fmla="*/ 1152376 w 2091050"/>
              <a:gd name="connsiteY151" fmla="*/ 331982 h 648194"/>
              <a:gd name="connsiteX152" fmla="*/ 1152376 w 2091050"/>
              <a:gd name="connsiteY152" fmla="*/ 325556 h 648194"/>
              <a:gd name="connsiteX153" fmla="*/ 1147992 w 2091050"/>
              <a:gd name="connsiteY153" fmla="*/ 313882 h 648194"/>
              <a:gd name="connsiteX154" fmla="*/ 1135056 w 2091050"/>
              <a:gd name="connsiteY154" fmla="*/ 309538 h 648194"/>
              <a:gd name="connsiteX155" fmla="*/ 1122505 w 2091050"/>
              <a:gd name="connsiteY155" fmla="*/ 313320 h 648194"/>
              <a:gd name="connsiteX156" fmla="*/ 1117435 w 2091050"/>
              <a:gd name="connsiteY156" fmla="*/ 322473 h 648194"/>
              <a:gd name="connsiteX157" fmla="*/ 1103376 w 2091050"/>
              <a:gd name="connsiteY157" fmla="*/ 322473 h 648194"/>
              <a:gd name="connsiteX158" fmla="*/ 1107720 w 2091050"/>
              <a:gd name="connsiteY158" fmla="*/ 310648 h 648194"/>
              <a:gd name="connsiteX159" fmla="*/ 1119518 w 2091050"/>
              <a:gd name="connsiteY159" fmla="*/ 301618 h 648194"/>
              <a:gd name="connsiteX160" fmla="*/ 1135892 w 2091050"/>
              <a:gd name="connsiteY160" fmla="*/ 298288 h 648194"/>
              <a:gd name="connsiteX161" fmla="*/ 1977182 w 2091050"/>
              <a:gd name="connsiteY161" fmla="*/ 298261 h 648194"/>
              <a:gd name="connsiteX162" fmla="*/ 2001984 w 2091050"/>
              <a:gd name="connsiteY162" fmla="*/ 308770 h 648194"/>
              <a:gd name="connsiteX163" fmla="*/ 2010836 w 2091050"/>
              <a:gd name="connsiteY163" fmla="*/ 338861 h 648194"/>
              <a:gd name="connsiteX164" fmla="*/ 2010836 w 2091050"/>
              <a:gd name="connsiteY164" fmla="*/ 344685 h 648194"/>
              <a:gd name="connsiteX165" fmla="*/ 1955423 w 2091050"/>
              <a:gd name="connsiteY165" fmla="*/ 344685 h 648194"/>
              <a:gd name="connsiteX166" fmla="*/ 1962493 w 2091050"/>
              <a:gd name="connsiteY166" fmla="*/ 364224 h 648194"/>
              <a:gd name="connsiteX167" fmla="*/ 1979690 w 2091050"/>
              <a:gd name="connsiteY167" fmla="*/ 371665 h 648194"/>
              <a:gd name="connsiteX168" fmla="*/ 1992241 w 2091050"/>
              <a:gd name="connsiteY168" fmla="*/ 368637 h 648194"/>
              <a:gd name="connsiteX169" fmla="*/ 2001244 w 2091050"/>
              <a:gd name="connsiteY169" fmla="*/ 360621 h 648194"/>
              <a:gd name="connsiteX170" fmla="*/ 2009780 w 2091050"/>
              <a:gd name="connsiteY170" fmla="*/ 367280 h 648194"/>
              <a:gd name="connsiteX171" fmla="*/ 1978936 w 2091050"/>
              <a:gd name="connsiteY171" fmla="*/ 383079 h 648194"/>
              <a:gd name="connsiteX172" fmla="*/ 1978936 w 2091050"/>
              <a:gd name="connsiteY172" fmla="*/ 383093 h 648194"/>
              <a:gd name="connsiteX173" fmla="*/ 1951874 w 2091050"/>
              <a:gd name="connsiteY173" fmla="*/ 372172 h 648194"/>
              <a:gd name="connsiteX174" fmla="*/ 1941433 w 2091050"/>
              <a:gd name="connsiteY174" fmla="*/ 342945 h 648194"/>
              <a:gd name="connsiteX175" fmla="*/ 1941433 w 2091050"/>
              <a:gd name="connsiteY175" fmla="*/ 340368 h 648194"/>
              <a:gd name="connsiteX176" fmla="*/ 1946078 w 2091050"/>
              <a:gd name="connsiteY176" fmla="*/ 318636 h 648194"/>
              <a:gd name="connsiteX177" fmla="*/ 1959082 w 2091050"/>
              <a:gd name="connsiteY177" fmla="*/ 303673 h 648194"/>
              <a:gd name="connsiteX178" fmla="*/ 1977182 w 2091050"/>
              <a:gd name="connsiteY178" fmla="*/ 298261 h 648194"/>
              <a:gd name="connsiteX179" fmla="*/ 1895105 w 2091050"/>
              <a:gd name="connsiteY179" fmla="*/ 298261 h 648194"/>
              <a:gd name="connsiteX180" fmla="*/ 1917673 w 2091050"/>
              <a:gd name="connsiteY180" fmla="*/ 305441 h 648194"/>
              <a:gd name="connsiteX181" fmla="*/ 1926333 w 2091050"/>
              <a:gd name="connsiteY181" fmla="*/ 323816 h 648194"/>
              <a:gd name="connsiteX182" fmla="*/ 1912274 w 2091050"/>
              <a:gd name="connsiteY182" fmla="*/ 323816 h 648194"/>
              <a:gd name="connsiteX183" fmla="*/ 1907396 w 2091050"/>
              <a:gd name="connsiteY183" fmla="*/ 313909 h 648194"/>
              <a:gd name="connsiteX184" fmla="*/ 1895105 w 2091050"/>
              <a:gd name="connsiteY184" fmla="*/ 309757 h 648194"/>
              <a:gd name="connsiteX185" fmla="*/ 1883156 w 2091050"/>
              <a:gd name="connsiteY185" fmla="*/ 313087 h 648194"/>
              <a:gd name="connsiteX186" fmla="*/ 1878840 w 2091050"/>
              <a:gd name="connsiteY186" fmla="*/ 321774 h 648194"/>
              <a:gd name="connsiteX187" fmla="*/ 1882841 w 2091050"/>
              <a:gd name="connsiteY187" fmla="*/ 329406 h 648194"/>
              <a:gd name="connsiteX188" fmla="*/ 1897325 w 2091050"/>
              <a:gd name="connsiteY188" fmla="*/ 334326 h 648194"/>
              <a:gd name="connsiteX189" fmla="*/ 1914302 w 2091050"/>
              <a:gd name="connsiteY189" fmla="*/ 339916 h 648194"/>
              <a:gd name="connsiteX190" fmla="*/ 1923948 w 2091050"/>
              <a:gd name="connsiteY190" fmla="*/ 347740 h 648194"/>
              <a:gd name="connsiteX191" fmla="*/ 1927086 w 2091050"/>
              <a:gd name="connsiteY191" fmla="*/ 358894 h 648194"/>
              <a:gd name="connsiteX192" fmla="*/ 1918317 w 2091050"/>
              <a:gd name="connsiteY192" fmla="*/ 376474 h 648194"/>
              <a:gd name="connsiteX193" fmla="*/ 1895557 w 2091050"/>
              <a:gd name="connsiteY193" fmla="*/ 383093 h 648194"/>
              <a:gd name="connsiteX194" fmla="*/ 1878168 w 2091050"/>
              <a:gd name="connsiteY194" fmla="*/ 379612 h 648194"/>
              <a:gd name="connsiteX195" fmla="*/ 1866343 w 2091050"/>
              <a:gd name="connsiteY195" fmla="*/ 369897 h 648194"/>
              <a:gd name="connsiteX196" fmla="*/ 1862068 w 2091050"/>
              <a:gd name="connsiteY196" fmla="*/ 356400 h 648194"/>
              <a:gd name="connsiteX197" fmla="*/ 1876058 w 2091050"/>
              <a:gd name="connsiteY197" fmla="*/ 356400 h 648194"/>
              <a:gd name="connsiteX198" fmla="*/ 1881690 w 2091050"/>
              <a:gd name="connsiteY198" fmla="*/ 367554 h 648194"/>
              <a:gd name="connsiteX199" fmla="*/ 1895557 w 2091050"/>
              <a:gd name="connsiteY199" fmla="*/ 371679 h 648194"/>
              <a:gd name="connsiteX200" fmla="*/ 1908300 w 2091050"/>
              <a:gd name="connsiteY200" fmla="*/ 368472 h 648194"/>
              <a:gd name="connsiteX201" fmla="*/ 1913096 w 2091050"/>
              <a:gd name="connsiteY201" fmla="*/ 359894 h 648194"/>
              <a:gd name="connsiteX202" fmla="*/ 1913096 w 2091050"/>
              <a:gd name="connsiteY202" fmla="*/ 359881 h 648194"/>
              <a:gd name="connsiteX203" fmla="*/ 1908821 w 2091050"/>
              <a:gd name="connsiteY203" fmla="*/ 351070 h 648194"/>
              <a:gd name="connsiteX204" fmla="*/ 1893926 w 2091050"/>
              <a:gd name="connsiteY204" fmla="*/ 345658 h 648194"/>
              <a:gd name="connsiteX205" fmla="*/ 1877072 w 2091050"/>
              <a:gd name="connsiteY205" fmla="*/ 340218 h 648194"/>
              <a:gd name="connsiteX206" fmla="*/ 1867851 w 2091050"/>
              <a:gd name="connsiteY206" fmla="*/ 332654 h 648194"/>
              <a:gd name="connsiteX207" fmla="*/ 1864864 w 2091050"/>
              <a:gd name="connsiteY207" fmla="*/ 322226 h 648194"/>
              <a:gd name="connsiteX208" fmla="*/ 1873373 w 2091050"/>
              <a:gd name="connsiteY208" fmla="*/ 305222 h 648194"/>
              <a:gd name="connsiteX209" fmla="*/ 1895105 w 2091050"/>
              <a:gd name="connsiteY209" fmla="*/ 298261 h 648194"/>
              <a:gd name="connsiteX210" fmla="*/ 1778661 w 2091050"/>
              <a:gd name="connsiteY210" fmla="*/ 298261 h 648194"/>
              <a:gd name="connsiteX211" fmla="*/ 1803463 w 2091050"/>
              <a:gd name="connsiteY211" fmla="*/ 308770 h 648194"/>
              <a:gd name="connsiteX212" fmla="*/ 1812314 w 2091050"/>
              <a:gd name="connsiteY212" fmla="*/ 338861 h 648194"/>
              <a:gd name="connsiteX213" fmla="*/ 1812314 w 2091050"/>
              <a:gd name="connsiteY213" fmla="*/ 344685 h 648194"/>
              <a:gd name="connsiteX214" fmla="*/ 1756902 w 2091050"/>
              <a:gd name="connsiteY214" fmla="*/ 344685 h 648194"/>
              <a:gd name="connsiteX215" fmla="*/ 1763972 w 2091050"/>
              <a:gd name="connsiteY215" fmla="*/ 364224 h 648194"/>
              <a:gd name="connsiteX216" fmla="*/ 1781169 w 2091050"/>
              <a:gd name="connsiteY216" fmla="*/ 371665 h 648194"/>
              <a:gd name="connsiteX217" fmla="*/ 1793720 w 2091050"/>
              <a:gd name="connsiteY217" fmla="*/ 368637 h 648194"/>
              <a:gd name="connsiteX218" fmla="*/ 1802723 w 2091050"/>
              <a:gd name="connsiteY218" fmla="*/ 360621 h 648194"/>
              <a:gd name="connsiteX219" fmla="*/ 1811259 w 2091050"/>
              <a:gd name="connsiteY219" fmla="*/ 367280 h 648194"/>
              <a:gd name="connsiteX220" fmla="*/ 1780415 w 2091050"/>
              <a:gd name="connsiteY220" fmla="*/ 383079 h 648194"/>
              <a:gd name="connsiteX221" fmla="*/ 1780415 w 2091050"/>
              <a:gd name="connsiteY221" fmla="*/ 383093 h 648194"/>
              <a:gd name="connsiteX222" fmla="*/ 1753353 w 2091050"/>
              <a:gd name="connsiteY222" fmla="*/ 372172 h 648194"/>
              <a:gd name="connsiteX223" fmla="*/ 1742911 w 2091050"/>
              <a:gd name="connsiteY223" fmla="*/ 342945 h 648194"/>
              <a:gd name="connsiteX224" fmla="*/ 1742911 w 2091050"/>
              <a:gd name="connsiteY224" fmla="*/ 340368 h 648194"/>
              <a:gd name="connsiteX225" fmla="*/ 1747556 w 2091050"/>
              <a:gd name="connsiteY225" fmla="*/ 318636 h 648194"/>
              <a:gd name="connsiteX226" fmla="*/ 1760560 w 2091050"/>
              <a:gd name="connsiteY226" fmla="*/ 303673 h 648194"/>
              <a:gd name="connsiteX227" fmla="*/ 1778661 w 2091050"/>
              <a:gd name="connsiteY227" fmla="*/ 298261 h 648194"/>
              <a:gd name="connsiteX228" fmla="*/ 1729168 w 2091050"/>
              <a:gd name="connsiteY228" fmla="*/ 298261 h 648194"/>
              <a:gd name="connsiteX229" fmla="*/ 1735375 w 2091050"/>
              <a:gd name="connsiteY229" fmla="*/ 299316 h 648194"/>
              <a:gd name="connsiteX230" fmla="*/ 1735375 w 2091050"/>
              <a:gd name="connsiteY230" fmla="*/ 312319 h 648194"/>
              <a:gd name="connsiteX231" fmla="*/ 1728496 w 2091050"/>
              <a:gd name="connsiteY231" fmla="*/ 311785 h 648194"/>
              <a:gd name="connsiteX232" fmla="*/ 1709820 w 2091050"/>
              <a:gd name="connsiteY232" fmla="*/ 323501 h 648194"/>
              <a:gd name="connsiteX233" fmla="*/ 1709820 w 2091050"/>
              <a:gd name="connsiteY233" fmla="*/ 381572 h 648194"/>
              <a:gd name="connsiteX234" fmla="*/ 1695830 w 2091050"/>
              <a:gd name="connsiteY234" fmla="*/ 381572 h 648194"/>
              <a:gd name="connsiteX235" fmla="*/ 1695830 w 2091050"/>
              <a:gd name="connsiteY235" fmla="*/ 299768 h 648194"/>
              <a:gd name="connsiteX236" fmla="*/ 1709436 w 2091050"/>
              <a:gd name="connsiteY236" fmla="*/ 299768 h 648194"/>
              <a:gd name="connsiteX237" fmla="*/ 1709669 w 2091050"/>
              <a:gd name="connsiteY237" fmla="*/ 309223 h 648194"/>
              <a:gd name="connsiteX238" fmla="*/ 1729168 w 2091050"/>
              <a:gd name="connsiteY238" fmla="*/ 298261 h 648194"/>
              <a:gd name="connsiteX239" fmla="*/ 1522713 w 2091050"/>
              <a:gd name="connsiteY239" fmla="*/ 298261 h 648194"/>
              <a:gd name="connsiteX240" fmla="*/ 1545281 w 2091050"/>
              <a:gd name="connsiteY240" fmla="*/ 305441 h 648194"/>
              <a:gd name="connsiteX241" fmla="*/ 1553940 w 2091050"/>
              <a:gd name="connsiteY241" fmla="*/ 323816 h 648194"/>
              <a:gd name="connsiteX242" fmla="*/ 1539882 w 2091050"/>
              <a:gd name="connsiteY242" fmla="*/ 323816 h 648194"/>
              <a:gd name="connsiteX243" fmla="*/ 1535004 w 2091050"/>
              <a:gd name="connsiteY243" fmla="*/ 313909 h 648194"/>
              <a:gd name="connsiteX244" fmla="*/ 1522713 w 2091050"/>
              <a:gd name="connsiteY244" fmla="*/ 309757 h 648194"/>
              <a:gd name="connsiteX245" fmla="*/ 1510764 w 2091050"/>
              <a:gd name="connsiteY245" fmla="*/ 313087 h 648194"/>
              <a:gd name="connsiteX246" fmla="*/ 1506448 w 2091050"/>
              <a:gd name="connsiteY246" fmla="*/ 321774 h 648194"/>
              <a:gd name="connsiteX247" fmla="*/ 1510449 w 2091050"/>
              <a:gd name="connsiteY247" fmla="*/ 329406 h 648194"/>
              <a:gd name="connsiteX248" fmla="*/ 1524933 w 2091050"/>
              <a:gd name="connsiteY248" fmla="*/ 334326 h 648194"/>
              <a:gd name="connsiteX249" fmla="*/ 1541910 w 2091050"/>
              <a:gd name="connsiteY249" fmla="*/ 339916 h 648194"/>
              <a:gd name="connsiteX250" fmla="*/ 1551556 w 2091050"/>
              <a:gd name="connsiteY250" fmla="*/ 347740 h 648194"/>
              <a:gd name="connsiteX251" fmla="*/ 1554694 w 2091050"/>
              <a:gd name="connsiteY251" fmla="*/ 358894 h 648194"/>
              <a:gd name="connsiteX252" fmla="*/ 1545925 w 2091050"/>
              <a:gd name="connsiteY252" fmla="*/ 376474 h 648194"/>
              <a:gd name="connsiteX253" fmla="*/ 1523165 w 2091050"/>
              <a:gd name="connsiteY253" fmla="*/ 383093 h 648194"/>
              <a:gd name="connsiteX254" fmla="*/ 1505777 w 2091050"/>
              <a:gd name="connsiteY254" fmla="*/ 379612 h 648194"/>
              <a:gd name="connsiteX255" fmla="*/ 1493951 w 2091050"/>
              <a:gd name="connsiteY255" fmla="*/ 369897 h 648194"/>
              <a:gd name="connsiteX256" fmla="*/ 1489676 w 2091050"/>
              <a:gd name="connsiteY256" fmla="*/ 356400 h 648194"/>
              <a:gd name="connsiteX257" fmla="*/ 1503666 w 2091050"/>
              <a:gd name="connsiteY257" fmla="*/ 356400 h 648194"/>
              <a:gd name="connsiteX258" fmla="*/ 1509298 w 2091050"/>
              <a:gd name="connsiteY258" fmla="*/ 367554 h 648194"/>
              <a:gd name="connsiteX259" fmla="*/ 1523165 w 2091050"/>
              <a:gd name="connsiteY259" fmla="*/ 371679 h 648194"/>
              <a:gd name="connsiteX260" fmla="*/ 1535908 w 2091050"/>
              <a:gd name="connsiteY260" fmla="*/ 368472 h 648194"/>
              <a:gd name="connsiteX261" fmla="*/ 1540704 w 2091050"/>
              <a:gd name="connsiteY261" fmla="*/ 359894 h 648194"/>
              <a:gd name="connsiteX262" fmla="*/ 1540704 w 2091050"/>
              <a:gd name="connsiteY262" fmla="*/ 359881 h 648194"/>
              <a:gd name="connsiteX263" fmla="*/ 1536429 w 2091050"/>
              <a:gd name="connsiteY263" fmla="*/ 351070 h 648194"/>
              <a:gd name="connsiteX264" fmla="*/ 1521534 w 2091050"/>
              <a:gd name="connsiteY264" fmla="*/ 345658 h 648194"/>
              <a:gd name="connsiteX265" fmla="*/ 1504680 w 2091050"/>
              <a:gd name="connsiteY265" fmla="*/ 340218 h 648194"/>
              <a:gd name="connsiteX266" fmla="*/ 1495458 w 2091050"/>
              <a:gd name="connsiteY266" fmla="*/ 332654 h 648194"/>
              <a:gd name="connsiteX267" fmla="*/ 1492471 w 2091050"/>
              <a:gd name="connsiteY267" fmla="*/ 322226 h 648194"/>
              <a:gd name="connsiteX268" fmla="*/ 1500981 w 2091050"/>
              <a:gd name="connsiteY268" fmla="*/ 305222 h 648194"/>
              <a:gd name="connsiteX269" fmla="*/ 1522713 w 2091050"/>
              <a:gd name="connsiteY269" fmla="*/ 298261 h 648194"/>
              <a:gd name="connsiteX270" fmla="*/ 1006458 w 2091050"/>
              <a:gd name="connsiteY270" fmla="*/ 298261 h 648194"/>
              <a:gd name="connsiteX271" fmla="*/ 1029821 w 2091050"/>
              <a:gd name="connsiteY271" fmla="*/ 311415 h 648194"/>
              <a:gd name="connsiteX272" fmla="*/ 1040441 w 2091050"/>
              <a:gd name="connsiteY272" fmla="*/ 301892 h 648194"/>
              <a:gd name="connsiteX273" fmla="*/ 1055897 w 2091050"/>
              <a:gd name="connsiteY273" fmla="*/ 298261 h 648194"/>
              <a:gd name="connsiteX274" fmla="*/ 1083261 w 2091050"/>
              <a:gd name="connsiteY274" fmla="*/ 326762 h 648194"/>
              <a:gd name="connsiteX275" fmla="*/ 1083261 w 2091050"/>
              <a:gd name="connsiteY275" fmla="*/ 381572 h 648194"/>
              <a:gd name="connsiteX276" fmla="*/ 1069271 w 2091050"/>
              <a:gd name="connsiteY276" fmla="*/ 381572 h 648194"/>
              <a:gd name="connsiteX277" fmla="*/ 1069271 w 2091050"/>
              <a:gd name="connsiteY277" fmla="*/ 327584 h 648194"/>
              <a:gd name="connsiteX278" fmla="*/ 1065270 w 2091050"/>
              <a:gd name="connsiteY278" fmla="*/ 314471 h 648194"/>
              <a:gd name="connsiteX279" fmla="*/ 1051814 w 2091050"/>
              <a:gd name="connsiteY279" fmla="*/ 310127 h 648194"/>
              <a:gd name="connsiteX280" fmla="*/ 1038879 w 2091050"/>
              <a:gd name="connsiteY280" fmla="*/ 314772 h 648194"/>
              <a:gd name="connsiteX281" fmla="*/ 1032904 w 2091050"/>
              <a:gd name="connsiteY281" fmla="*/ 327283 h 648194"/>
              <a:gd name="connsiteX282" fmla="*/ 1032904 w 2091050"/>
              <a:gd name="connsiteY282" fmla="*/ 381572 h 648194"/>
              <a:gd name="connsiteX283" fmla="*/ 1018846 w 2091050"/>
              <a:gd name="connsiteY283" fmla="*/ 381572 h 648194"/>
              <a:gd name="connsiteX284" fmla="*/ 1018846 w 2091050"/>
              <a:gd name="connsiteY284" fmla="*/ 327968 h 648194"/>
              <a:gd name="connsiteX285" fmla="*/ 1001375 w 2091050"/>
              <a:gd name="connsiteY285" fmla="*/ 310127 h 648194"/>
              <a:gd name="connsiteX286" fmla="*/ 982548 w 2091050"/>
              <a:gd name="connsiteY286" fmla="*/ 321843 h 648194"/>
              <a:gd name="connsiteX287" fmla="*/ 982548 w 2091050"/>
              <a:gd name="connsiteY287" fmla="*/ 381572 h 648194"/>
              <a:gd name="connsiteX288" fmla="*/ 968558 w 2091050"/>
              <a:gd name="connsiteY288" fmla="*/ 381572 h 648194"/>
              <a:gd name="connsiteX289" fmla="*/ 968558 w 2091050"/>
              <a:gd name="connsiteY289" fmla="*/ 299768 h 648194"/>
              <a:gd name="connsiteX290" fmla="*/ 981794 w 2091050"/>
              <a:gd name="connsiteY290" fmla="*/ 299768 h 648194"/>
              <a:gd name="connsiteX291" fmla="*/ 981808 w 2091050"/>
              <a:gd name="connsiteY291" fmla="*/ 299768 h 648194"/>
              <a:gd name="connsiteX292" fmla="*/ 982192 w 2091050"/>
              <a:gd name="connsiteY292" fmla="*/ 308839 h 648194"/>
              <a:gd name="connsiteX293" fmla="*/ 1006458 w 2091050"/>
              <a:gd name="connsiteY293" fmla="*/ 298261 h 648194"/>
              <a:gd name="connsiteX294" fmla="*/ 2064892 w 2091050"/>
              <a:gd name="connsiteY294" fmla="*/ 298247 h 648194"/>
              <a:gd name="connsiteX295" fmla="*/ 2091050 w 2091050"/>
              <a:gd name="connsiteY295" fmla="*/ 327502 h 648194"/>
              <a:gd name="connsiteX296" fmla="*/ 2091050 w 2091050"/>
              <a:gd name="connsiteY296" fmla="*/ 381558 h 648194"/>
              <a:gd name="connsiteX297" fmla="*/ 2077060 w 2091050"/>
              <a:gd name="connsiteY297" fmla="*/ 381558 h 648194"/>
              <a:gd name="connsiteX298" fmla="*/ 2077060 w 2091050"/>
              <a:gd name="connsiteY298" fmla="*/ 327420 h 648194"/>
              <a:gd name="connsiteX299" fmla="*/ 2073018 w 2091050"/>
              <a:gd name="connsiteY299" fmla="*/ 314334 h 648194"/>
              <a:gd name="connsiteX300" fmla="*/ 2060658 w 2091050"/>
              <a:gd name="connsiteY300" fmla="*/ 310100 h 648194"/>
              <a:gd name="connsiteX301" fmla="*/ 2048709 w 2091050"/>
              <a:gd name="connsiteY301" fmla="*/ 313731 h 648194"/>
              <a:gd name="connsiteX302" fmla="*/ 2040694 w 2091050"/>
              <a:gd name="connsiteY302" fmla="*/ 323254 h 648194"/>
              <a:gd name="connsiteX303" fmla="*/ 2040694 w 2091050"/>
              <a:gd name="connsiteY303" fmla="*/ 381544 h 648194"/>
              <a:gd name="connsiteX304" fmla="*/ 2026703 w 2091050"/>
              <a:gd name="connsiteY304" fmla="*/ 381544 h 648194"/>
              <a:gd name="connsiteX305" fmla="*/ 2026703 w 2091050"/>
              <a:gd name="connsiteY305" fmla="*/ 299741 h 648194"/>
              <a:gd name="connsiteX306" fmla="*/ 2039940 w 2091050"/>
              <a:gd name="connsiteY306" fmla="*/ 299741 h 648194"/>
              <a:gd name="connsiteX307" fmla="*/ 2039940 w 2091050"/>
              <a:gd name="connsiteY307" fmla="*/ 299768 h 648194"/>
              <a:gd name="connsiteX308" fmla="*/ 2040392 w 2091050"/>
              <a:gd name="connsiteY308" fmla="*/ 310045 h 648194"/>
              <a:gd name="connsiteX309" fmla="*/ 2064892 w 2091050"/>
              <a:gd name="connsiteY309" fmla="*/ 298247 h 648194"/>
              <a:gd name="connsiteX310" fmla="*/ 1577605 w 2091050"/>
              <a:gd name="connsiteY310" fmla="*/ 279982 h 648194"/>
              <a:gd name="connsiteX311" fmla="*/ 1591581 w 2091050"/>
              <a:gd name="connsiteY311" fmla="*/ 279982 h 648194"/>
              <a:gd name="connsiteX312" fmla="*/ 1591581 w 2091050"/>
              <a:gd name="connsiteY312" fmla="*/ 299782 h 648194"/>
              <a:gd name="connsiteX313" fmla="*/ 1606846 w 2091050"/>
              <a:gd name="connsiteY313" fmla="*/ 299782 h 648194"/>
              <a:gd name="connsiteX314" fmla="*/ 1606846 w 2091050"/>
              <a:gd name="connsiteY314" fmla="*/ 310593 h 648194"/>
              <a:gd name="connsiteX315" fmla="*/ 1591581 w 2091050"/>
              <a:gd name="connsiteY315" fmla="*/ 310593 h 648194"/>
              <a:gd name="connsiteX316" fmla="*/ 1591581 w 2091050"/>
              <a:gd name="connsiteY316" fmla="*/ 361388 h 648194"/>
              <a:gd name="connsiteX317" fmla="*/ 1593623 w 2091050"/>
              <a:gd name="connsiteY317" fmla="*/ 368773 h 648194"/>
              <a:gd name="connsiteX318" fmla="*/ 1600584 w 2091050"/>
              <a:gd name="connsiteY318" fmla="*/ 371226 h 648194"/>
              <a:gd name="connsiteX319" fmla="*/ 1607243 w 2091050"/>
              <a:gd name="connsiteY319" fmla="*/ 370322 h 648194"/>
              <a:gd name="connsiteX320" fmla="*/ 1607243 w 2091050"/>
              <a:gd name="connsiteY320" fmla="*/ 381599 h 648194"/>
              <a:gd name="connsiteX321" fmla="*/ 1596514 w 2091050"/>
              <a:gd name="connsiteY321" fmla="*/ 383106 h 648194"/>
              <a:gd name="connsiteX322" fmla="*/ 1582373 w 2091050"/>
              <a:gd name="connsiteY322" fmla="*/ 377433 h 648194"/>
              <a:gd name="connsiteX323" fmla="*/ 1577605 w 2091050"/>
              <a:gd name="connsiteY323" fmla="*/ 361333 h 648194"/>
              <a:gd name="connsiteX324" fmla="*/ 1577605 w 2091050"/>
              <a:gd name="connsiteY324" fmla="*/ 310607 h 648194"/>
              <a:gd name="connsiteX325" fmla="*/ 1562710 w 2091050"/>
              <a:gd name="connsiteY325" fmla="*/ 310607 h 648194"/>
              <a:gd name="connsiteX326" fmla="*/ 1562710 w 2091050"/>
              <a:gd name="connsiteY326" fmla="*/ 299795 h 648194"/>
              <a:gd name="connsiteX327" fmla="*/ 1577605 w 2091050"/>
              <a:gd name="connsiteY327" fmla="*/ 299795 h 648194"/>
              <a:gd name="connsiteX328" fmla="*/ 1363901 w 2091050"/>
              <a:gd name="connsiteY328" fmla="*/ 279982 h 648194"/>
              <a:gd name="connsiteX329" fmla="*/ 1377878 w 2091050"/>
              <a:gd name="connsiteY329" fmla="*/ 279982 h 648194"/>
              <a:gd name="connsiteX330" fmla="*/ 1377878 w 2091050"/>
              <a:gd name="connsiteY330" fmla="*/ 299782 h 648194"/>
              <a:gd name="connsiteX331" fmla="*/ 1393142 w 2091050"/>
              <a:gd name="connsiteY331" fmla="*/ 299782 h 648194"/>
              <a:gd name="connsiteX332" fmla="*/ 1393142 w 2091050"/>
              <a:gd name="connsiteY332" fmla="*/ 310593 h 648194"/>
              <a:gd name="connsiteX333" fmla="*/ 1377878 w 2091050"/>
              <a:gd name="connsiteY333" fmla="*/ 310593 h 648194"/>
              <a:gd name="connsiteX334" fmla="*/ 1377878 w 2091050"/>
              <a:gd name="connsiteY334" fmla="*/ 361388 h 648194"/>
              <a:gd name="connsiteX335" fmla="*/ 1379920 w 2091050"/>
              <a:gd name="connsiteY335" fmla="*/ 368773 h 648194"/>
              <a:gd name="connsiteX336" fmla="*/ 1386880 w 2091050"/>
              <a:gd name="connsiteY336" fmla="*/ 371226 h 648194"/>
              <a:gd name="connsiteX337" fmla="*/ 1393540 w 2091050"/>
              <a:gd name="connsiteY337" fmla="*/ 370322 h 648194"/>
              <a:gd name="connsiteX338" fmla="*/ 1393540 w 2091050"/>
              <a:gd name="connsiteY338" fmla="*/ 381599 h 648194"/>
              <a:gd name="connsiteX339" fmla="*/ 1382811 w 2091050"/>
              <a:gd name="connsiteY339" fmla="*/ 383106 h 648194"/>
              <a:gd name="connsiteX340" fmla="*/ 1368670 w 2091050"/>
              <a:gd name="connsiteY340" fmla="*/ 377433 h 648194"/>
              <a:gd name="connsiteX341" fmla="*/ 1363901 w 2091050"/>
              <a:gd name="connsiteY341" fmla="*/ 361333 h 648194"/>
              <a:gd name="connsiteX342" fmla="*/ 1363901 w 2091050"/>
              <a:gd name="connsiteY342" fmla="*/ 310607 h 648194"/>
              <a:gd name="connsiteX343" fmla="*/ 1349007 w 2091050"/>
              <a:gd name="connsiteY343" fmla="*/ 310607 h 648194"/>
              <a:gd name="connsiteX344" fmla="*/ 1349007 w 2091050"/>
              <a:gd name="connsiteY344" fmla="*/ 299795 h 648194"/>
              <a:gd name="connsiteX345" fmla="*/ 1363901 w 2091050"/>
              <a:gd name="connsiteY345" fmla="*/ 299795 h 648194"/>
              <a:gd name="connsiteX346" fmla="*/ 1591581 w 2091050"/>
              <a:gd name="connsiteY346" fmla="*/ 279968 h 648194"/>
              <a:gd name="connsiteX347" fmla="*/ 1591595 w 2091050"/>
              <a:gd name="connsiteY347" fmla="*/ 279982 h 648194"/>
              <a:gd name="connsiteX348" fmla="*/ 1591581 w 2091050"/>
              <a:gd name="connsiteY348" fmla="*/ 279982 h 648194"/>
              <a:gd name="connsiteX349" fmla="*/ 1377878 w 2091050"/>
              <a:gd name="connsiteY349" fmla="*/ 279968 h 648194"/>
              <a:gd name="connsiteX350" fmla="*/ 1377891 w 2091050"/>
              <a:gd name="connsiteY350" fmla="*/ 279982 h 648194"/>
              <a:gd name="connsiteX351" fmla="*/ 1377878 w 2091050"/>
              <a:gd name="connsiteY351" fmla="*/ 279982 h 648194"/>
              <a:gd name="connsiteX352" fmla="*/ 799552 w 2091050"/>
              <a:gd name="connsiteY352" fmla="*/ 271500 h 648194"/>
              <a:gd name="connsiteX353" fmla="*/ 814063 w 2091050"/>
              <a:gd name="connsiteY353" fmla="*/ 271500 h 648194"/>
              <a:gd name="connsiteX354" fmla="*/ 814063 w 2091050"/>
              <a:gd name="connsiteY354" fmla="*/ 325940 h 648194"/>
              <a:gd name="connsiteX355" fmla="*/ 862980 w 2091050"/>
              <a:gd name="connsiteY355" fmla="*/ 271500 h 648194"/>
              <a:gd name="connsiteX356" fmla="*/ 880519 w 2091050"/>
              <a:gd name="connsiteY356" fmla="*/ 271500 h 648194"/>
              <a:gd name="connsiteX357" fmla="*/ 837192 w 2091050"/>
              <a:gd name="connsiteY357" fmla="*/ 320116 h 648194"/>
              <a:gd name="connsiteX358" fmla="*/ 883917 w 2091050"/>
              <a:gd name="connsiteY358" fmla="*/ 381585 h 648194"/>
              <a:gd name="connsiteX359" fmla="*/ 866529 w 2091050"/>
              <a:gd name="connsiteY359" fmla="*/ 381585 h 648194"/>
              <a:gd name="connsiteX360" fmla="*/ 827518 w 2091050"/>
              <a:gd name="connsiteY360" fmla="*/ 330407 h 648194"/>
              <a:gd name="connsiteX361" fmla="*/ 827518 w 2091050"/>
              <a:gd name="connsiteY361" fmla="*/ 330393 h 648194"/>
              <a:gd name="connsiteX362" fmla="*/ 814063 w 2091050"/>
              <a:gd name="connsiteY362" fmla="*/ 344383 h 648194"/>
              <a:gd name="connsiteX363" fmla="*/ 814063 w 2091050"/>
              <a:gd name="connsiteY363" fmla="*/ 381585 h 648194"/>
              <a:gd name="connsiteX364" fmla="*/ 799552 w 2091050"/>
              <a:gd name="connsiteY364" fmla="*/ 381585 h 648194"/>
              <a:gd name="connsiteX365" fmla="*/ 939714 w 2091050"/>
              <a:gd name="connsiteY365" fmla="*/ 269993 h 648194"/>
              <a:gd name="connsiteX366" fmla="*/ 945907 w 2091050"/>
              <a:gd name="connsiteY366" fmla="*/ 272336 h 648194"/>
              <a:gd name="connsiteX367" fmla="*/ 948018 w 2091050"/>
              <a:gd name="connsiteY367" fmla="*/ 278077 h 648194"/>
              <a:gd name="connsiteX368" fmla="*/ 945907 w 2091050"/>
              <a:gd name="connsiteY368" fmla="*/ 283750 h 648194"/>
              <a:gd name="connsiteX369" fmla="*/ 939714 w 2091050"/>
              <a:gd name="connsiteY369" fmla="*/ 286025 h 648194"/>
              <a:gd name="connsiteX370" fmla="*/ 933548 w 2091050"/>
              <a:gd name="connsiteY370" fmla="*/ 283750 h 648194"/>
              <a:gd name="connsiteX371" fmla="*/ 931465 w 2091050"/>
              <a:gd name="connsiteY371" fmla="*/ 278077 h 648194"/>
              <a:gd name="connsiteX372" fmla="*/ 933548 w 2091050"/>
              <a:gd name="connsiteY372" fmla="*/ 272336 h 648194"/>
              <a:gd name="connsiteX373" fmla="*/ 939714 w 2091050"/>
              <a:gd name="connsiteY373" fmla="*/ 269993 h 648194"/>
              <a:gd name="connsiteX374" fmla="*/ 1829401 w 2091050"/>
              <a:gd name="connsiteY374" fmla="*/ 265443 h 648194"/>
              <a:gd name="connsiteX375" fmla="*/ 1843392 w 2091050"/>
              <a:gd name="connsiteY375" fmla="*/ 265443 h 648194"/>
              <a:gd name="connsiteX376" fmla="*/ 1843392 w 2091050"/>
              <a:gd name="connsiteY376" fmla="*/ 381572 h 648194"/>
              <a:gd name="connsiteX377" fmla="*/ 1829401 w 2091050"/>
              <a:gd name="connsiteY377" fmla="*/ 381572 h 648194"/>
              <a:gd name="connsiteX378" fmla="*/ 1239606 w 2091050"/>
              <a:gd name="connsiteY378" fmla="*/ 265443 h 648194"/>
              <a:gd name="connsiteX379" fmla="*/ 1253596 w 2091050"/>
              <a:gd name="connsiteY379" fmla="*/ 265443 h 648194"/>
              <a:gd name="connsiteX380" fmla="*/ 1253596 w 2091050"/>
              <a:gd name="connsiteY380" fmla="*/ 381572 h 648194"/>
              <a:gd name="connsiteX381" fmla="*/ 1240743 w 2091050"/>
              <a:gd name="connsiteY381" fmla="*/ 381572 h 648194"/>
              <a:gd name="connsiteX382" fmla="*/ 1240058 w 2091050"/>
              <a:gd name="connsiteY382" fmla="*/ 372802 h 648194"/>
              <a:gd name="connsiteX383" fmla="*/ 1216696 w 2091050"/>
              <a:gd name="connsiteY383" fmla="*/ 383079 h 648194"/>
              <a:gd name="connsiteX384" fmla="*/ 1193524 w 2091050"/>
              <a:gd name="connsiteY384" fmla="*/ 371432 h 648194"/>
              <a:gd name="connsiteX385" fmla="*/ 1184563 w 2091050"/>
              <a:gd name="connsiteY385" fmla="*/ 341040 h 648194"/>
              <a:gd name="connsiteX386" fmla="*/ 1184563 w 2091050"/>
              <a:gd name="connsiteY386" fmla="*/ 339998 h 648194"/>
              <a:gd name="connsiteX387" fmla="*/ 1193483 w 2091050"/>
              <a:gd name="connsiteY387" fmla="*/ 309716 h 648194"/>
              <a:gd name="connsiteX388" fmla="*/ 1216846 w 2091050"/>
              <a:gd name="connsiteY388" fmla="*/ 298261 h 648194"/>
              <a:gd name="connsiteX389" fmla="*/ 1239606 w 2091050"/>
              <a:gd name="connsiteY389" fmla="*/ 308085 h 648194"/>
              <a:gd name="connsiteX390" fmla="*/ 895332 w 2091050"/>
              <a:gd name="connsiteY390" fmla="*/ 265443 h 648194"/>
              <a:gd name="connsiteX391" fmla="*/ 909322 w 2091050"/>
              <a:gd name="connsiteY391" fmla="*/ 265443 h 648194"/>
              <a:gd name="connsiteX392" fmla="*/ 909322 w 2091050"/>
              <a:gd name="connsiteY392" fmla="*/ 381572 h 648194"/>
              <a:gd name="connsiteX393" fmla="*/ 895332 w 2091050"/>
              <a:gd name="connsiteY393" fmla="*/ 381572 h 648194"/>
              <a:gd name="connsiteX394" fmla="*/ 324186 w 2091050"/>
              <a:gd name="connsiteY394" fmla="*/ 211373 h 648194"/>
              <a:gd name="connsiteX395" fmla="*/ 307894 w 2091050"/>
              <a:gd name="connsiteY395" fmla="*/ 227693 h 648194"/>
              <a:gd name="connsiteX396" fmla="*/ 309166 w 2091050"/>
              <a:gd name="connsiteY396" fmla="*/ 233992 h 648194"/>
              <a:gd name="connsiteX397" fmla="*/ 312600 w 2091050"/>
              <a:gd name="connsiteY397" fmla="*/ 239092 h 648194"/>
              <a:gd name="connsiteX398" fmla="*/ 324117 w 2091050"/>
              <a:gd name="connsiteY398" fmla="*/ 243876 h 648194"/>
              <a:gd name="connsiteX399" fmla="*/ 340409 w 2091050"/>
              <a:gd name="connsiteY399" fmla="*/ 227556 h 648194"/>
              <a:gd name="connsiteX400" fmla="*/ 339138 w 2091050"/>
              <a:gd name="connsiteY400" fmla="*/ 221257 h 648194"/>
              <a:gd name="connsiteX401" fmla="*/ 335703 w 2091050"/>
              <a:gd name="connsiteY401" fmla="*/ 216157 h 648194"/>
              <a:gd name="connsiteX402" fmla="*/ 324186 w 2091050"/>
              <a:gd name="connsiteY402" fmla="*/ 211373 h 648194"/>
              <a:gd name="connsiteX403" fmla="*/ 324090 w 2091050"/>
              <a:gd name="connsiteY403" fmla="*/ 176295 h 648194"/>
              <a:gd name="connsiteX404" fmla="*/ 328678 w 2091050"/>
              <a:gd name="connsiteY404" fmla="*/ 178203 h 648194"/>
              <a:gd name="connsiteX405" fmla="*/ 328726 w 2091050"/>
              <a:gd name="connsiteY405" fmla="*/ 178318 h 648194"/>
              <a:gd name="connsiteX406" fmla="*/ 328747 w 2091050"/>
              <a:gd name="connsiteY406" fmla="*/ 178327 h 648194"/>
              <a:gd name="connsiteX407" fmla="*/ 330654 w 2091050"/>
              <a:gd name="connsiteY407" fmla="*/ 182927 h 648194"/>
              <a:gd name="connsiteX408" fmla="*/ 330654 w 2091050"/>
              <a:gd name="connsiteY408" fmla="*/ 199906 h 648194"/>
              <a:gd name="connsiteX409" fmla="*/ 339293 w 2091050"/>
              <a:gd name="connsiteY409" fmla="*/ 203576 h 648194"/>
              <a:gd name="connsiteX410" fmla="*/ 346514 w 2091050"/>
              <a:gd name="connsiteY410" fmla="*/ 210043 h 648194"/>
              <a:gd name="connsiteX411" fmla="*/ 346577 w 2091050"/>
              <a:gd name="connsiteY411" fmla="*/ 210161 h 648194"/>
              <a:gd name="connsiteX412" fmla="*/ 346583 w 2091050"/>
              <a:gd name="connsiteY412" fmla="*/ 210166 h 648194"/>
              <a:gd name="connsiteX413" fmla="*/ 351276 w 2091050"/>
              <a:gd name="connsiteY413" fmla="*/ 218932 h 648194"/>
              <a:gd name="connsiteX414" fmla="*/ 352384 w 2091050"/>
              <a:gd name="connsiteY414" fmla="*/ 229387 h 648194"/>
              <a:gd name="connsiteX415" fmla="*/ 372346 w 2091050"/>
              <a:gd name="connsiteY415" fmla="*/ 222375 h 648194"/>
              <a:gd name="connsiteX416" fmla="*/ 392753 w 2091050"/>
              <a:gd name="connsiteY416" fmla="*/ 220020 h 648194"/>
              <a:gd name="connsiteX417" fmla="*/ 448431 w 2091050"/>
              <a:gd name="connsiteY417" fmla="*/ 245634 h 648194"/>
              <a:gd name="connsiteX418" fmla="*/ 448465 w 2091050"/>
              <a:gd name="connsiteY418" fmla="*/ 245732 h 648194"/>
              <a:gd name="connsiteX419" fmla="*/ 448500 w 2091050"/>
              <a:gd name="connsiteY419" fmla="*/ 245769 h 648194"/>
              <a:gd name="connsiteX420" fmla="*/ 455120 w 2091050"/>
              <a:gd name="connsiteY420" fmla="*/ 264525 h 648194"/>
              <a:gd name="connsiteX421" fmla="*/ 455126 w 2091050"/>
              <a:gd name="connsiteY421" fmla="*/ 264525 h 648194"/>
              <a:gd name="connsiteX422" fmla="*/ 498380 w 2091050"/>
              <a:gd name="connsiteY422" fmla="*/ 296816 h 648194"/>
              <a:gd name="connsiteX423" fmla="*/ 498383 w 2091050"/>
              <a:gd name="connsiteY423" fmla="*/ 296853 h 648194"/>
              <a:gd name="connsiteX424" fmla="*/ 498435 w 2091050"/>
              <a:gd name="connsiteY424" fmla="*/ 296953 h 648194"/>
              <a:gd name="connsiteX425" fmla="*/ 500441 w 2091050"/>
              <a:gd name="connsiteY425" fmla="*/ 318294 h 648194"/>
              <a:gd name="connsiteX426" fmla="*/ 450413 w 2091050"/>
              <a:gd name="connsiteY426" fmla="*/ 402728 h 648194"/>
              <a:gd name="connsiteX427" fmla="*/ 450112 w 2091050"/>
              <a:gd name="connsiteY427" fmla="*/ 403085 h 648194"/>
              <a:gd name="connsiteX428" fmla="*/ 432860 w 2091050"/>
              <a:gd name="connsiteY428" fmla="*/ 403085 h 648194"/>
              <a:gd name="connsiteX429" fmla="*/ 432983 w 2091050"/>
              <a:gd name="connsiteY429" fmla="*/ 402948 h 648194"/>
              <a:gd name="connsiteX430" fmla="*/ 432805 w 2091050"/>
              <a:gd name="connsiteY430" fmla="*/ 402948 h 648194"/>
              <a:gd name="connsiteX431" fmla="*/ 434340 w 2091050"/>
              <a:gd name="connsiteY431" fmla="*/ 401235 h 648194"/>
              <a:gd name="connsiteX432" fmla="*/ 469103 w 2091050"/>
              <a:gd name="connsiteY432" fmla="*/ 357044 h 648194"/>
              <a:gd name="connsiteX433" fmla="*/ 487423 w 2091050"/>
              <a:gd name="connsiteY433" fmla="*/ 317499 h 648194"/>
              <a:gd name="connsiteX434" fmla="*/ 485824 w 2091050"/>
              <a:gd name="connsiteY434" fmla="*/ 300130 h 648194"/>
              <a:gd name="connsiteX435" fmla="*/ 479134 w 2091050"/>
              <a:gd name="connsiteY435" fmla="*/ 287847 h 648194"/>
              <a:gd name="connsiteX436" fmla="*/ 456346 w 2091050"/>
              <a:gd name="connsiteY436" fmla="*/ 277858 h 648194"/>
              <a:gd name="connsiteX437" fmla="*/ 456346 w 2091050"/>
              <a:gd name="connsiteY437" fmla="*/ 278337 h 648194"/>
              <a:gd name="connsiteX438" fmla="*/ 456209 w 2091050"/>
              <a:gd name="connsiteY438" fmla="*/ 286038 h 648194"/>
              <a:gd name="connsiteX439" fmla="*/ 438656 w 2091050"/>
              <a:gd name="connsiteY439" fmla="*/ 333586 h 648194"/>
              <a:gd name="connsiteX440" fmla="*/ 392383 w 2091050"/>
              <a:gd name="connsiteY440" fmla="*/ 402687 h 648194"/>
              <a:gd name="connsiteX441" fmla="*/ 392068 w 2091050"/>
              <a:gd name="connsiteY441" fmla="*/ 403085 h 648194"/>
              <a:gd name="connsiteX442" fmla="*/ 375612 w 2091050"/>
              <a:gd name="connsiteY442" fmla="*/ 403085 h 648194"/>
              <a:gd name="connsiteX443" fmla="*/ 375723 w 2091050"/>
              <a:gd name="connsiteY443" fmla="*/ 402948 h 648194"/>
              <a:gd name="connsiteX444" fmla="*/ 375556 w 2091050"/>
              <a:gd name="connsiteY444" fmla="*/ 402948 h 648194"/>
              <a:gd name="connsiteX445" fmla="*/ 376913 w 2091050"/>
              <a:gd name="connsiteY445" fmla="*/ 401276 h 648194"/>
              <a:gd name="connsiteX446" fmla="*/ 443150 w 2091050"/>
              <a:gd name="connsiteY446" fmla="*/ 284997 h 648194"/>
              <a:gd name="connsiteX447" fmla="*/ 443387 w 2091050"/>
              <a:gd name="connsiteY447" fmla="*/ 271849 h 648194"/>
              <a:gd name="connsiteX448" fmla="*/ 440825 w 2091050"/>
              <a:gd name="connsiteY448" fmla="*/ 260170 h 648194"/>
              <a:gd name="connsiteX449" fmla="*/ 434135 w 2091050"/>
              <a:gd name="connsiteY449" fmla="*/ 248398 h 648194"/>
              <a:gd name="connsiteX450" fmla="*/ 392849 w 2091050"/>
              <a:gd name="connsiteY450" fmla="*/ 233160 h 648194"/>
              <a:gd name="connsiteX451" fmla="*/ 330681 w 2091050"/>
              <a:gd name="connsiteY451" fmla="*/ 260867 h 648194"/>
              <a:gd name="connsiteX452" fmla="*/ 330681 w 2091050"/>
              <a:gd name="connsiteY452" fmla="*/ 403098 h 648194"/>
              <a:gd name="connsiteX453" fmla="*/ 317677 w 2091050"/>
              <a:gd name="connsiteY453" fmla="*/ 403098 h 648194"/>
              <a:gd name="connsiteX454" fmla="*/ 317677 w 2091050"/>
              <a:gd name="connsiteY454" fmla="*/ 402961 h 648194"/>
              <a:gd name="connsiteX455" fmla="*/ 317608 w 2091050"/>
              <a:gd name="connsiteY455" fmla="*/ 402961 h 648194"/>
              <a:gd name="connsiteX456" fmla="*/ 317608 w 2091050"/>
              <a:gd name="connsiteY456" fmla="*/ 260796 h 648194"/>
              <a:gd name="connsiteX457" fmla="*/ 315680 w 2091050"/>
              <a:gd name="connsiteY457" fmla="*/ 258834 h 648194"/>
              <a:gd name="connsiteX458" fmla="*/ 255509 w 2091050"/>
              <a:gd name="connsiteY458" fmla="*/ 233160 h 648194"/>
              <a:gd name="connsiteX459" fmla="*/ 214210 w 2091050"/>
              <a:gd name="connsiteY459" fmla="*/ 248411 h 648194"/>
              <a:gd name="connsiteX460" fmla="*/ 205125 w 2091050"/>
              <a:gd name="connsiteY460" fmla="*/ 285052 h 648194"/>
              <a:gd name="connsiteX461" fmla="*/ 209072 w 2091050"/>
              <a:gd name="connsiteY461" fmla="*/ 301287 h 648194"/>
              <a:gd name="connsiteX462" fmla="*/ 216998 w 2091050"/>
              <a:gd name="connsiteY462" fmla="*/ 319576 h 648194"/>
              <a:gd name="connsiteX463" fmla="*/ 227582 w 2091050"/>
              <a:gd name="connsiteY463" fmla="*/ 338776 h 648194"/>
              <a:gd name="connsiteX464" fmla="*/ 271308 w 2091050"/>
              <a:gd name="connsiteY464" fmla="*/ 401276 h 648194"/>
              <a:gd name="connsiteX465" fmla="*/ 272664 w 2091050"/>
              <a:gd name="connsiteY465" fmla="*/ 402948 h 648194"/>
              <a:gd name="connsiteX466" fmla="*/ 272622 w 2091050"/>
              <a:gd name="connsiteY466" fmla="*/ 402948 h 648194"/>
              <a:gd name="connsiteX467" fmla="*/ 272733 w 2091050"/>
              <a:gd name="connsiteY467" fmla="*/ 403085 h 648194"/>
              <a:gd name="connsiteX468" fmla="*/ 256277 w 2091050"/>
              <a:gd name="connsiteY468" fmla="*/ 403085 h 648194"/>
              <a:gd name="connsiteX469" fmla="*/ 255962 w 2091050"/>
              <a:gd name="connsiteY469" fmla="*/ 402687 h 648194"/>
              <a:gd name="connsiteX470" fmla="*/ 209675 w 2091050"/>
              <a:gd name="connsiteY470" fmla="*/ 333586 h 648194"/>
              <a:gd name="connsiteX471" fmla="*/ 209639 w 2091050"/>
              <a:gd name="connsiteY471" fmla="*/ 333508 h 648194"/>
              <a:gd name="connsiteX472" fmla="*/ 209606 w 2091050"/>
              <a:gd name="connsiteY472" fmla="*/ 333449 h 648194"/>
              <a:gd name="connsiteX473" fmla="*/ 192066 w 2091050"/>
              <a:gd name="connsiteY473" fmla="*/ 285901 h 648194"/>
              <a:gd name="connsiteX474" fmla="*/ 191929 w 2091050"/>
              <a:gd name="connsiteY474" fmla="*/ 278214 h 648194"/>
              <a:gd name="connsiteX475" fmla="*/ 191929 w 2091050"/>
              <a:gd name="connsiteY475" fmla="*/ 277876 h 648194"/>
              <a:gd name="connsiteX476" fmla="*/ 178625 w 2091050"/>
              <a:gd name="connsiteY476" fmla="*/ 281434 h 648194"/>
              <a:gd name="connsiteX477" fmla="*/ 169197 w 2091050"/>
              <a:gd name="connsiteY477" fmla="*/ 287847 h 648194"/>
              <a:gd name="connsiteX478" fmla="*/ 160866 w 2091050"/>
              <a:gd name="connsiteY478" fmla="*/ 317636 h 648194"/>
              <a:gd name="connsiteX479" fmla="*/ 162282 w 2091050"/>
              <a:gd name="connsiteY479" fmla="*/ 325048 h 648194"/>
              <a:gd name="connsiteX480" fmla="*/ 165839 w 2091050"/>
              <a:gd name="connsiteY480" fmla="*/ 334181 h 648194"/>
              <a:gd name="connsiteX481" fmla="*/ 171430 w 2091050"/>
              <a:gd name="connsiteY481" fmla="*/ 344823 h 648194"/>
              <a:gd name="connsiteX482" fmla="*/ 179104 w 2091050"/>
              <a:gd name="connsiteY482" fmla="*/ 357044 h 648194"/>
              <a:gd name="connsiteX483" fmla="*/ 213867 w 2091050"/>
              <a:gd name="connsiteY483" fmla="*/ 401235 h 648194"/>
              <a:gd name="connsiteX484" fmla="*/ 215402 w 2091050"/>
              <a:gd name="connsiteY484" fmla="*/ 402948 h 648194"/>
              <a:gd name="connsiteX485" fmla="*/ 215348 w 2091050"/>
              <a:gd name="connsiteY485" fmla="*/ 402948 h 648194"/>
              <a:gd name="connsiteX486" fmla="*/ 215471 w 2091050"/>
              <a:gd name="connsiteY486" fmla="*/ 403085 h 648194"/>
              <a:gd name="connsiteX487" fmla="*/ 198219 w 2091050"/>
              <a:gd name="connsiteY487" fmla="*/ 403085 h 648194"/>
              <a:gd name="connsiteX488" fmla="*/ 197918 w 2091050"/>
              <a:gd name="connsiteY488" fmla="*/ 402728 h 648194"/>
              <a:gd name="connsiteX489" fmla="*/ 153666 w 2091050"/>
              <a:gd name="connsiteY489" fmla="*/ 338741 h 648194"/>
              <a:gd name="connsiteX490" fmla="*/ 153656 w 2091050"/>
              <a:gd name="connsiteY490" fmla="*/ 338706 h 648194"/>
              <a:gd name="connsiteX491" fmla="*/ 153599 w 2091050"/>
              <a:gd name="connsiteY491" fmla="*/ 338605 h 648194"/>
              <a:gd name="connsiteX492" fmla="*/ 147821 w 2091050"/>
              <a:gd name="connsiteY492" fmla="*/ 318157 h 648194"/>
              <a:gd name="connsiteX493" fmla="*/ 193080 w 2091050"/>
              <a:gd name="connsiteY493" fmla="*/ 264525 h 648194"/>
              <a:gd name="connsiteX494" fmla="*/ 255427 w 2091050"/>
              <a:gd name="connsiteY494" fmla="*/ 220020 h 648194"/>
              <a:gd name="connsiteX495" fmla="*/ 295849 w 2091050"/>
              <a:gd name="connsiteY495" fmla="*/ 229406 h 648194"/>
              <a:gd name="connsiteX496" fmla="*/ 317595 w 2091050"/>
              <a:gd name="connsiteY496" fmla="*/ 199877 h 648194"/>
              <a:gd name="connsiteX497" fmla="*/ 317595 w 2091050"/>
              <a:gd name="connsiteY497" fmla="*/ 182804 h 648194"/>
              <a:gd name="connsiteX498" fmla="*/ 324090 w 2091050"/>
              <a:gd name="connsiteY498" fmla="*/ 176295 h 648194"/>
              <a:gd name="connsiteX499" fmla="*/ 340519 w 2091050"/>
              <a:gd name="connsiteY499" fmla="*/ 159811 h 648194"/>
              <a:gd name="connsiteX500" fmla="*/ 362457 w 2091050"/>
              <a:gd name="connsiteY500" fmla="*/ 159811 h 648194"/>
              <a:gd name="connsiteX501" fmla="*/ 367057 w 2091050"/>
              <a:gd name="connsiteY501" fmla="*/ 161719 h 648194"/>
              <a:gd name="connsiteX502" fmla="*/ 367111 w 2091050"/>
              <a:gd name="connsiteY502" fmla="*/ 161850 h 648194"/>
              <a:gd name="connsiteX503" fmla="*/ 367126 w 2091050"/>
              <a:gd name="connsiteY503" fmla="*/ 161856 h 648194"/>
              <a:gd name="connsiteX504" fmla="*/ 369034 w 2091050"/>
              <a:gd name="connsiteY504" fmla="*/ 166457 h 648194"/>
              <a:gd name="connsiteX505" fmla="*/ 362525 w 2091050"/>
              <a:gd name="connsiteY505" fmla="*/ 172965 h 648194"/>
              <a:gd name="connsiteX506" fmla="*/ 340588 w 2091050"/>
              <a:gd name="connsiteY506" fmla="*/ 172965 h 648194"/>
              <a:gd name="connsiteX507" fmla="*/ 335987 w 2091050"/>
              <a:gd name="connsiteY507" fmla="*/ 171057 h 648194"/>
              <a:gd name="connsiteX508" fmla="*/ 335933 w 2091050"/>
              <a:gd name="connsiteY508" fmla="*/ 170926 h 648194"/>
              <a:gd name="connsiteX509" fmla="*/ 335918 w 2091050"/>
              <a:gd name="connsiteY509" fmla="*/ 170920 h 648194"/>
              <a:gd name="connsiteX510" fmla="*/ 334010 w 2091050"/>
              <a:gd name="connsiteY510" fmla="*/ 166320 h 648194"/>
              <a:gd name="connsiteX511" fmla="*/ 340519 w 2091050"/>
              <a:gd name="connsiteY511" fmla="*/ 159811 h 648194"/>
              <a:gd name="connsiteX512" fmla="*/ 285737 w 2091050"/>
              <a:gd name="connsiteY512" fmla="*/ 159811 h 648194"/>
              <a:gd name="connsiteX513" fmla="*/ 307674 w 2091050"/>
              <a:gd name="connsiteY513" fmla="*/ 159811 h 648194"/>
              <a:gd name="connsiteX514" fmla="*/ 312275 w 2091050"/>
              <a:gd name="connsiteY514" fmla="*/ 161719 h 648194"/>
              <a:gd name="connsiteX515" fmla="*/ 312329 w 2091050"/>
              <a:gd name="connsiteY515" fmla="*/ 161850 h 648194"/>
              <a:gd name="connsiteX516" fmla="*/ 312344 w 2091050"/>
              <a:gd name="connsiteY516" fmla="*/ 161856 h 648194"/>
              <a:gd name="connsiteX517" fmla="*/ 314252 w 2091050"/>
              <a:gd name="connsiteY517" fmla="*/ 166457 h 648194"/>
              <a:gd name="connsiteX518" fmla="*/ 307743 w 2091050"/>
              <a:gd name="connsiteY518" fmla="*/ 172965 h 648194"/>
              <a:gd name="connsiteX519" fmla="*/ 285805 w 2091050"/>
              <a:gd name="connsiteY519" fmla="*/ 172965 h 648194"/>
              <a:gd name="connsiteX520" fmla="*/ 281205 w 2091050"/>
              <a:gd name="connsiteY520" fmla="*/ 171057 h 648194"/>
              <a:gd name="connsiteX521" fmla="*/ 281150 w 2091050"/>
              <a:gd name="connsiteY521" fmla="*/ 170926 h 648194"/>
              <a:gd name="connsiteX522" fmla="*/ 281136 w 2091050"/>
              <a:gd name="connsiteY522" fmla="*/ 170920 h 648194"/>
              <a:gd name="connsiteX523" fmla="*/ 279228 w 2091050"/>
              <a:gd name="connsiteY523" fmla="*/ 166320 h 648194"/>
              <a:gd name="connsiteX524" fmla="*/ 285737 w 2091050"/>
              <a:gd name="connsiteY524" fmla="*/ 159811 h 648194"/>
              <a:gd name="connsiteX525" fmla="*/ 324090 w 2091050"/>
              <a:gd name="connsiteY525" fmla="*/ 121403 h 648194"/>
              <a:gd name="connsiteX526" fmla="*/ 328690 w 2091050"/>
              <a:gd name="connsiteY526" fmla="*/ 123311 h 648194"/>
              <a:gd name="connsiteX527" fmla="*/ 328744 w 2091050"/>
              <a:gd name="connsiteY527" fmla="*/ 123442 h 648194"/>
              <a:gd name="connsiteX528" fmla="*/ 328759 w 2091050"/>
              <a:gd name="connsiteY528" fmla="*/ 123448 h 648194"/>
              <a:gd name="connsiteX529" fmla="*/ 330667 w 2091050"/>
              <a:gd name="connsiteY529" fmla="*/ 128049 h 648194"/>
              <a:gd name="connsiteX530" fmla="*/ 330667 w 2091050"/>
              <a:gd name="connsiteY530" fmla="*/ 149959 h 648194"/>
              <a:gd name="connsiteX531" fmla="*/ 324159 w 2091050"/>
              <a:gd name="connsiteY531" fmla="*/ 156468 h 648194"/>
              <a:gd name="connsiteX532" fmla="*/ 319558 w 2091050"/>
              <a:gd name="connsiteY532" fmla="*/ 154560 h 648194"/>
              <a:gd name="connsiteX533" fmla="*/ 319504 w 2091050"/>
              <a:gd name="connsiteY533" fmla="*/ 154429 h 648194"/>
              <a:gd name="connsiteX534" fmla="*/ 319489 w 2091050"/>
              <a:gd name="connsiteY534" fmla="*/ 154423 h 648194"/>
              <a:gd name="connsiteX535" fmla="*/ 317581 w 2091050"/>
              <a:gd name="connsiteY535" fmla="*/ 149822 h 648194"/>
              <a:gd name="connsiteX536" fmla="*/ 317581 w 2091050"/>
              <a:gd name="connsiteY536" fmla="*/ 127912 h 648194"/>
              <a:gd name="connsiteX537" fmla="*/ 324090 w 2091050"/>
              <a:gd name="connsiteY537" fmla="*/ 121403 h 648194"/>
              <a:gd name="connsiteX538" fmla="*/ 324090 w 2091050"/>
              <a:gd name="connsiteY538" fmla="*/ 16442 h 648194"/>
              <a:gd name="connsiteX539" fmla="*/ 106549 w 2091050"/>
              <a:gd name="connsiteY539" fmla="*/ 106550 h 648194"/>
              <a:gd name="connsiteX540" fmla="*/ 16442 w 2091050"/>
              <a:gd name="connsiteY540" fmla="*/ 324104 h 648194"/>
              <a:gd name="connsiteX541" fmla="*/ 106549 w 2091050"/>
              <a:gd name="connsiteY541" fmla="*/ 541644 h 648194"/>
              <a:gd name="connsiteX542" fmla="*/ 324090 w 2091050"/>
              <a:gd name="connsiteY542" fmla="*/ 631751 h 648194"/>
              <a:gd name="connsiteX543" fmla="*/ 541630 w 2091050"/>
              <a:gd name="connsiteY543" fmla="*/ 541644 h 648194"/>
              <a:gd name="connsiteX544" fmla="*/ 631738 w 2091050"/>
              <a:gd name="connsiteY544" fmla="*/ 324104 h 648194"/>
              <a:gd name="connsiteX545" fmla="*/ 541630 w 2091050"/>
              <a:gd name="connsiteY545" fmla="*/ 106563 h 648194"/>
              <a:gd name="connsiteX546" fmla="*/ 324090 w 2091050"/>
              <a:gd name="connsiteY546" fmla="*/ 16442 h 648194"/>
              <a:gd name="connsiteX547" fmla="*/ 324080 w 2091050"/>
              <a:gd name="connsiteY547" fmla="*/ 0 h 648194"/>
              <a:gd name="connsiteX548" fmla="*/ 324100 w 2091050"/>
              <a:gd name="connsiteY548" fmla="*/ 0 h 648194"/>
              <a:gd name="connsiteX549" fmla="*/ 387811 w 2091050"/>
              <a:gd name="connsiteY549" fmla="*/ 6223 h 648194"/>
              <a:gd name="connsiteX550" fmla="*/ 553250 w 2091050"/>
              <a:gd name="connsiteY550" fmla="*/ 94930 h 648194"/>
              <a:gd name="connsiteX551" fmla="*/ 648181 w 2091050"/>
              <a:gd name="connsiteY551" fmla="*/ 324104 h 648194"/>
              <a:gd name="connsiteX552" fmla="*/ 553250 w 2091050"/>
              <a:gd name="connsiteY552" fmla="*/ 553277 h 648194"/>
              <a:gd name="connsiteX553" fmla="*/ 324090 w 2091050"/>
              <a:gd name="connsiteY553" fmla="*/ 648194 h 648194"/>
              <a:gd name="connsiteX554" fmla="*/ 324090 w 2091050"/>
              <a:gd name="connsiteY554" fmla="*/ 648180 h 648194"/>
              <a:gd name="connsiteX555" fmla="*/ 94916 w 2091050"/>
              <a:gd name="connsiteY555" fmla="*/ 553264 h 648194"/>
              <a:gd name="connsiteX556" fmla="*/ 24504 w 2091050"/>
              <a:gd name="connsiteY556" fmla="*/ 448190 h 648194"/>
              <a:gd name="connsiteX557" fmla="*/ 0 w 2091050"/>
              <a:gd name="connsiteY557" fmla="*/ 324109 h 648194"/>
              <a:gd name="connsiteX558" fmla="*/ 0 w 2091050"/>
              <a:gd name="connsiteY558" fmla="*/ 324099 h 648194"/>
              <a:gd name="connsiteX559" fmla="*/ 24506 w 2091050"/>
              <a:gd name="connsiteY559" fmla="*/ 200011 h 648194"/>
              <a:gd name="connsiteX560" fmla="*/ 94930 w 2091050"/>
              <a:gd name="connsiteY560" fmla="*/ 94930 h 648194"/>
              <a:gd name="connsiteX561" fmla="*/ 260368 w 2091050"/>
              <a:gd name="connsiteY561" fmla="*/ 6225 h 64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2091050" h="648194">
                <a:moveTo>
                  <a:pt x="197027" y="461156"/>
                </a:moveTo>
                <a:lnTo>
                  <a:pt x="451152" y="461156"/>
                </a:lnTo>
                <a:lnTo>
                  <a:pt x="451152" y="461293"/>
                </a:lnTo>
                <a:lnTo>
                  <a:pt x="451221" y="461293"/>
                </a:lnTo>
                <a:lnTo>
                  <a:pt x="451221" y="474310"/>
                </a:lnTo>
                <a:lnTo>
                  <a:pt x="197096" y="474310"/>
                </a:lnTo>
                <a:lnTo>
                  <a:pt x="197096" y="474173"/>
                </a:lnTo>
                <a:lnTo>
                  <a:pt x="197027" y="474173"/>
                </a:lnTo>
                <a:close/>
                <a:moveTo>
                  <a:pt x="197027" y="439245"/>
                </a:moveTo>
                <a:lnTo>
                  <a:pt x="451153" y="439245"/>
                </a:lnTo>
                <a:lnTo>
                  <a:pt x="451153" y="439382"/>
                </a:lnTo>
                <a:lnTo>
                  <a:pt x="451221" y="439382"/>
                </a:lnTo>
                <a:lnTo>
                  <a:pt x="451221" y="452400"/>
                </a:lnTo>
                <a:lnTo>
                  <a:pt x="197096" y="452400"/>
                </a:lnTo>
                <a:lnTo>
                  <a:pt x="197096" y="452263"/>
                </a:lnTo>
                <a:lnTo>
                  <a:pt x="197027" y="452263"/>
                </a:lnTo>
                <a:close/>
                <a:moveTo>
                  <a:pt x="197027" y="417335"/>
                </a:moveTo>
                <a:lnTo>
                  <a:pt x="451152" y="417335"/>
                </a:lnTo>
                <a:lnTo>
                  <a:pt x="451152" y="417472"/>
                </a:lnTo>
                <a:lnTo>
                  <a:pt x="451221" y="417472"/>
                </a:lnTo>
                <a:lnTo>
                  <a:pt x="451221" y="430489"/>
                </a:lnTo>
                <a:lnTo>
                  <a:pt x="197096" y="430489"/>
                </a:lnTo>
                <a:lnTo>
                  <a:pt x="197096" y="430352"/>
                </a:lnTo>
                <a:lnTo>
                  <a:pt x="197027" y="430352"/>
                </a:lnTo>
                <a:close/>
                <a:moveTo>
                  <a:pt x="1446514" y="341876"/>
                </a:moveTo>
                <a:cubicBezTo>
                  <a:pt x="1429372" y="341876"/>
                  <a:pt x="1420808" y="346891"/>
                  <a:pt x="1420808" y="356921"/>
                </a:cubicBezTo>
                <a:cubicBezTo>
                  <a:pt x="1420808" y="361306"/>
                  <a:pt x="1422274" y="364731"/>
                  <a:pt x="1425192" y="367198"/>
                </a:cubicBezTo>
                <a:cubicBezTo>
                  <a:pt x="1428111" y="369664"/>
                  <a:pt x="1431865" y="370897"/>
                  <a:pt x="1436456" y="370897"/>
                </a:cubicBezTo>
                <a:lnTo>
                  <a:pt x="1436456" y="370911"/>
                </a:lnTo>
                <a:cubicBezTo>
                  <a:pt x="1440841" y="370911"/>
                  <a:pt x="1445006" y="369774"/>
                  <a:pt x="1448925" y="367513"/>
                </a:cubicBezTo>
                <a:cubicBezTo>
                  <a:pt x="1452844" y="365252"/>
                  <a:pt x="1455708" y="362292"/>
                  <a:pt x="1457476" y="358661"/>
                </a:cubicBezTo>
                <a:lnTo>
                  <a:pt x="1457476" y="341876"/>
                </a:lnTo>
                <a:close/>
                <a:moveTo>
                  <a:pt x="1312325" y="341876"/>
                </a:moveTo>
                <a:cubicBezTo>
                  <a:pt x="1295183" y="341876"/>
                  <a:pt x="1286619" y="346891"/>
                  <a:pt x="1286619" y="356921"/>
                </a:cubicBezTo>
                <a:cubicBezTo>
                  <a:pt x="1286619" y="361306"/>
                  <a:pt x="1288085" y="364731"/>
                  <a:pt x="1291004" y="367198"/>
                </a:cubicBezTo>
                <a:cubicBezTo>
                  <a:pt x="1293923" y="369664"/>
                  <a:pt x="1297677" y="370897"/>
                  <a:pt x="1302268" y="370897"/>
                </a:cubicBezTo>
                <a:lnTo>
                  <a:pt x="1302281" y="370911"/>
                </a:lnTo>
                <a:cubicBezTo>
                  <a:pt x="1306666" y="370911"/>
                  <a:pt x="1310818" y="369774"/>
                  <a:pt x="1314750" y="367513"/>
                </a:cubicBezTo>
                <a:cubicBezTo>
                  <a:pt x="1318683" y="365252"/>
                  <a:pt x="1321533" y="362292"/>
                  <a:pt x="1323287" y="358661"/>
                </a:cubicBezTo>
                <a:lnTo>
                  <a:pt x="1323287" y="341876"/>
                </a:lnTo>
                <a:close/>
                <a:moveTo>
                  <a:pt x="1141387" y="341876"/>
                </a:moveTo>
                <a:cubicBezTo>
                  <a:pt x="1124245" y="341876"/>
                  <a:pt x="1115681" y="346891"/>
                  <a:pt x="1115681" y="356921"/>
                </a:cubicBezTo>
                <a:cubicBezTo>
                  <a:pt x="1115681" y="361306"/>
                  <a:pt x="1117147" y="364731"/>
                  <a:pt x="1120066" y="367198"/>
                </a:cubicBezTo>
                <a:cubicBezTo>
                  <a:pt x="1122984" y="369664"/>
                  <a:pt x="1126739" y="370897"/>
                  <a:pt x="1131329" y="370897"/>
                </a:cubicBezTo>
                <a:lnTo>
                  <a:pt x="1131343" y="370911"/>
                </a:lnTo>
                <a:cubicBezTo>
                  <a:pt x="1135728" y="370911"/>
                  <a:pt x="1139880" y="369774"/>
                  <a:pt x="1143812" y="367513"/>
                </a:cubicBezTo>
                <a:cubicBezTo>
                  <a:pt x="1147745" y="365252"/>
                  <a:pt x="1150595" y="362292"/>
                  <a:pt x="1152349" y="358661"/>
                </a:cubicBezTo>
                <a:lnTo>
                  <a:pt x="1152349" y="341876"/>
                </a:lnTo>
                <a:close/>
                <a:moveTo>
                  <a:pt x="1220327" y="310127"/>
                </a:moveTo>
                <a:cubicBezTo>
                  <a:pt x="1213475" y="310127"/>
                  <a:pt x="1208132" y="312772"/>
                  <a:pt x="1204295" y="318061"/>
                </a:cubicBezTo>
                <a:cubicBezTo>
                  <a:pt x="1200458" y="323350"/>
                  <a:pt x="1198553" y="331188"/>
                  <a:pt x="1198553" y="341574"/>
                </a:cubicBezTo>
                <a:cubicBezTo>
                  <a:pt x="1198553" y="350851"/>
                  <a:pt x="1200472" y="358113"/>
                  <a:pt x="1204295" y="363348"/>
                </a:cubicBezTo>
                <a:cubicBezTo>
                  <a:pt x="1208118" y="368596"/>
                  <a:pt x="1213420" y="371213"/>
                  <a:pt x="1220176" y="371213"/>
                </a:cubicBezTo>
                <a:cubicBezTo>
                  <a:pt x="1229041" y="371213"/>
                  <a:pt x="1235522" y="367225"/>
                  <a:pt x="1239606" y="359264"/>
                </a:cubicBezTo>
                <a:lnTo>
                  <a:pt x="1239606" y="321692"/>
                </a:lnTo>
                <a:cubicBezTo>
                  <a:pt x="1235427" y="313977"/>
                  <a:pt x="1229000" y="310127"/>
                  <a:pt x="1220327" y="310127"/>
                </a:cubicBezTo>
                <a:close/>
                <a:moveTo>
                  <a:pt x="1977196" y="309757"/>
                </a:moveTo>
                <a:cubicBezTo>
                  <a:pt x="1971551" y="309757"/>
                  <a:pt x="1966810" y="311813"/>
                  <a:pt x="1962987" y="315923"/>
                </a:cubicBezTo>
                <a:cubicBezTo>
                  <a:pt x="1959150" y="320034"/>
                  <a:pt x="1956793" y="325789"/>
                  <a:pt x="1955875" y="333202"/>
                </a:cubicBezTo>
                <a:lnTo>
                  <a:pt x="1996859" y="333202"/>
                </a:lnTo>
                <a:lnTo>
                  <a:pt x="1996859" y="332147"/>
                </a:lnTo>
                <a:cubicBezTo>
                  <a:pt x="1996462" y="325035"/>
                  <a:pt x="1994543" y="319527"/>
                  <a:pt x="1991118" y="315622"/>
                </a:cubicBezTo>
                <a:cubicBezTo>
                  <a:pt x="1987692" y="311717"/>
                  <a:pt x="1983047" y="309757"/>
                  <a:pt x="1977210" y="309757"/>
                </a:cubicBezTo>
                <a:close/>
                <a:moveTo>
                  <a:pt x="1778675" y="309757"/>
                </a:moveTo>
                <a:cubicBezTo>
                  <a:pt x="1773029" y="309757"/>
                  <a:pt x="1768288" y="311813"/>
                  <a:pt x="1764465" y="315923"/>
                </a:cubicBezTo>
                <a:cubicBezTo>
                  <a:pt x="1760629" y="320034"/>
                  <a:pt x="1758272" y="325789"/>
                  <a:pt x="1757354" y="333202"/>
                </a:cubicBezTo>
                <a:lnTo>
                  <a:pt x="1798338" y="333202"/>
                </a:lnTo>
                <a:lnTo>
                  <a:pt x="1798338" y="332147"/>
                </a:lnTo>
                <a:cubicBezTo>
                  <a:pt x="1797940" y="325035"/>
                  <a:pt x="1796022" y="319527"/>
                  <a:pt x="1792596" y="315622"/>
                </a:cubicBezTo>
                <a:cubicBezTo>
                  <a:pt x="1789171" y="311717"/>
                  <a:pt x="1784526" y="309757"/>
                  <a:pt x="1778688" y="309757"/>
                </a:cubicBezTo>
                <a:close/>
                <a:moveTo>
                  <a:pt x="932589" y="299768"/>
                </a:moveTo>
                <a:lnTo>
                  <a:pt x="946579" y="299768"/>
                </a:lnTo>
                <a:lnTo>
                  <a:pt x="946579" y="381572"/>
                </a:lnTo>
                <a:lnTo>
                  <a:pt x="932589" y="381572"/>
                </a:lnTo>
                <a:close/>
                <a:moveTo>
                  <a:pt x="1613930" y="299741"/>
                </a:moveTo>
                <a:lnTo>
                  <a:pt x="1629208" y="299741"/>
                </a:lnTo>
                <a:lnTo>
                  <a:pt x="1649625" y="361059"/>
                </a:lnTo>
                <a:lnTo>
                  <a:pt x="1649639" y="361087"/>
                </a:lnTo>
                <a:lnTo>
                  <a:pt x="1668685" y="299768"/>
                </a:lnTo>
                <a:lnTo>
                  <a:pt x="1683648" y="299768"/>
                </a:lnTo>
                <a:lnTo>
                  <a:pt x="1650762" y="394192"/>
                </a:lnTo>
                <a:cubicBezTo>
                  <a:pt x="1645679" y="407798"/>
                  <a:pt x="1637580" y="414608"/>
                  <a:pt x="1626495" y="414608"/>
                </a:cubicBezTo>
                <a:lnTo>
                  <a:pt x="1623850" y="414375"/>
                </a:lnTo>
                <a:lnTo>
                  <a:pt x="1618630" y="413389"/>
                </a:lnTo>
                <a:lnTo>
                  <a:pt x="1618630" y="402043"/>
                </a:lnTo>
                <a:lnTo>
                  <a:pt x="1622412" y="402345"/>
                </a:lnTo>
                <a:cubicBezTo>
                  <a:pt x="1627153" y="402345"/>
                  <a:pt x="1630839" y="401385"/>
                  <a:pt x="1633483" y="399467"/>
                </a:cubicBezTo>
                <a:cubicBezTo>
                  <a:pt x="1636128" y="397549"/>
                  <a:pt x="1638307" y="394055"/>
                  <a:pt x="1640019" y="388957"/>
                </a:cubicBezTo>
                <a:lnTo>
                  <a:pt x="1643116" y="380640"/>
                </a:lnTo>
                <a:close/>
                <a:moveTo>
                  <a:pt x="1441019" y="298288"/>
                </a:moveTo>
                <a:cubicBezTo>
                  <a:pt x="1450446" y="298288"/>
                  <a:pt x="1457832" y="300645"/>
                  <a:pt x="1463176" y="305358"/>
                </a:cubicBezTo>
                <a:cubicBezTo>
                  <a:pt x="1468520" y="310072"/>
                  <a:pt x="1471287" y="316553"/>
                  <a:pt x="1471493" y="324830"/>
                </a:cubicBezTo>
                <a:lnTo>
                  <a:pt x="1471493" y="362484"/>
                </a:lnTo>
                <a:cubicBezTo>
                  <a:pt x="1471493" y="369993"/>
                  <a:pt x="1472452" y="375967"/>
                  <a:pt x="1474371" y="380407"/>
                </a:cubicBezTo>
                <a:lnTo>
                  <a:pt x="1474371" y="381613"/>
                </a:lnTo>
                <a:lnTo>
                  <a:pt x="1459709" y="381613"/>
                </a:lnTo>
                <a:lnTo>
                  <a:pt x="1459668" y="381572"/>
                </a:lnTo>
                <a:cubicBezTo>
                  <a:pt x="1458859" y="379955"/>
                  <a:pt x="1458202" y="377091"/>
                  <a:pt x="1457708" y="372953"/>
                </a:cubicBezTo>
                <a:cubicBezTo>
                  <a:pt x="1451200" y="379708"/>
                  <a:pt x="1443444" y="383079"/>
                  <a:pt x="1434428" y="383079"/>
                </a:cubicBezTo>
                <a:cubicBezTo>
                  <a:pt x="1426357" y="383079"/>
                  <a:pt x="1419752" y="380804"/>
                  <a:pt x="1414587" y="376241"/>
                </a:cubicBezTo>
                <a:cubicBezTo>
                  <a:pt x="1409421" y="371679"/>
                  <a:pt x="1406831" y="365896"/>
                  <a:pt x="1406831" y="358894"/>
                </a:cubicBezTo>
                <a:cubicBezTo>
                  <a:pt x="1406831" y="350371"/>
                  <a:pt x="1410065" y="343767"/>
                  <a:pt x="1416546" y="339053"/>
                </a:cubicBezTo>
                <a:cubicBezTo>
                  <a:pt x="1423028" y="334339"/>
                  <a:pt x="1432140" y="331982"/>
                  <a:pt x="1443883" y="331982"/>
                </a:cubicBezTo>
                <a:lnTo>
                  <a:pt x="1457489" y="331982"/>
                </a:lnTo>
                <a:lnTo>
                  <a:pt x="1457489" y="325556"/>
                </a:lnTo>
                <a:cubicBezTo>
                  <a:pt x="1457489" y="320664"/>
                  <a:pt x="1456023" y="316773"/>
                  <a:pt x="1453104" y="313882"/>
                </a:cubicBezTo>
                <a:cubicBezTo>
                  <a:pt x="1450186" y="310977"/>
                  <a:pt x="1445869" y="309538"/>
                  <a:pt x="1440183" y="309538"/>
                </a:cubicBezTo>
                <a:cubicBezTo>
                  <a:pt x="1435195" y="309538"/>
                  <a:pt x="1431002" y="310798"/>
                  <a:pt x="1427631" y="313320"/>
                </a:cubicBezTo>
                <a:cubicBezTo>
                  <a:pt x="1424260" y="315841"/>
                  <a:pt x="1422562" y="318897"/>
                  <a:pt x="1422562" y="322473"/>
                </a:cubicBezTo>
                <a:lnTo>
                  <a:pt x="1408503" y="322473"/>
                </a:lnTo>
                <a:cubicBezTo>
                  <a:pt x="1408503" y="318390"/>
                  <a:pt x="1409955" y="314443"/>
                  <a:pt x="1412846" y="310648"/>
                </a:cubicBezTo>
                <a:cubicBezTo>
                  <a:pt x="1415738" y="306852"/>
                  <a:pt x="1419670" y="303838"/>
                  <a:pt x="1424644" y="301618"/>
                </a:cubicBezTo>
                <a:cubicBezTo>
                  <a:pt x="1429604" y="299398"/>
                  <a:pt x="1435072" y="298288"/>
                  <a:pt x="1441019" y="298288"/>
                </a:cubicBezTo>
                <a:close/>
                <a:moveTo>
                  <a:pt x="1306817" y="298288"/>
                </a:moveTo>
                <a:cubicBezTo>
                  <a:pt x="1316244" y="298288"/>
                  <a:pt x="1323630" y="300645"/>
                  <a:pt x="1328974" y="305358"/>
                </a:cubicBezTo>
                <a:cubicBezTo>
                  <a:pt x="1334317" y="310072"/>
                  <a:pt x="1337085" y="316553"/>
                  <a:pt x="1337291" y="324830"/>
                </a:cubicBezTo>
                <a:lnTo>
                  <a:pt x="1337291" y="362484"/>
                </a:lnTo>
                <a:cubicBezTo>
                  <a:pt x="1337291" y="369993"/>
                  <a:pt x="1338250" y="375967"/>
                  <a:pt x="1340168" y="380407"/>
                </a:cubicBezTo>
                <a:lnTo>
                  <a:pt x="1340168" y="381613"/>
                </a:lnTo>
                <a:lnTo>
                  <a:pt x="1325507" y="381613"/>
                </a:lnTo>
                <a:lnTo>
                  <a:pt x="1325480" y="381572"/>
                </a:lnTo>
                <a:cubicBezTo>
                  <a:pt x="1324671" y="379955"/>
                  <a:pt x="1324013" y="377091"/>
                  <a:pt x="1323520" y="372953"/>
                </a:cubicBezTo>
                <a:cubicBezTo>
                  <a:pt x="1317011" y="379708"/>
                  <a:pt x="1309256" y="383079"/>
                  <a:pt x="1300239" y="383079"/>
                </a:cubicBezTo>
                <a:cubicBezTo>
                  <a:pt x="1292169" y="383079"/>
                  <a:pt x="1285564" y="380804"/>
                  <a:pt x="1280398" y="376241"/>
                </a:cubicBezTo>
                <a:cubicBezTo>
                  <a:pt x="1275232" y="371679"/>
                  <a:pt x="1272643" y="365896"/>
                  <a:pt x="1272643" y="358894"/>
                </a:cubicBezTo>
                <a:cubicBezTo>
                  <a:pt x="1272643" y="350371"/>
                  <a:pt x="1275877" y="343767"/>
                  <a:pt x="1282358" y="339053"/>
                </a:cubicBezTo>
                <a:cubicBezTo>
                  <a:pt x="1288839" y="334339"/>
                  <a:pt x="1297938" y="331982"/>
                  <a:pt x="1309694" y="331982"/>
                </a:cubicBezTo>
                <a:lnTo>
                  <a:pt x="1323301" y="331982"/>
                </a:lnTo>
                <a:lnTo>
                  <a:pt x="1323301" y="325556"/>
                </a:lnTo>
                <a:cubicBezTo>
                  <a:pt x="1323301" y="320664"/>
                  <a:pt x="1321835" y="316773"/>
                  <a:pt x="1318916" y="313882"/>
                </a:cubicBezTo>
                <a:cubicBezTo>
                  <a:pt x="1315997" y="310977"/>
                  <a:pt x="1311681" y="309538"/>
                  <a:pt x="1305981" y="309538"/>
                </a:cubicBezTo>
                <a:cubicBezTo>
                  <a:pt x="1300993" y="309538"/>
                  <a:pt x="1296800" y="310798"/>
                  <a:pt x="1293429" y="313320"/>
                </a:cubicBezTo>
                <a:cubicBezTo>
                  <a:pt x="1290058" y="315841"/>
                  <a:pt x="1288359" y="318897"/>
                  <a:pt x="1288359" y="322473"/>
                </a:cubicBezTo>
                <a:lnTo>
                  <a:pt x="1274301" y="322473"/>
                </a:lnTo>
                <a:cubicBezTo>
                  <a:pt x="1274301" y="318390"/>
                  <a:pt x="1275753" y="314443"/>
                  <a:pt x="1278644" y="310648"/>
                </a:cubicBezTo>
                <a:cubicBezTo>
                  <a:pt x="1281536" y="306852"/>
                  <a:pt x="1285468" y="303838"/>
                  <a:pt x="1290442" y="301618"/>
                </a:cubicBezTo>
                <a:cubicBezTo>
                  <a:pt x="1295403" y="299398"/>
                  <a:pt x="1300856" y="298288"/>
                  <a:pt x="1306817" y="298288"/>
                </a:cubicBezTo>
                <a:close/>
                <a:moveTo>
                  <a:pt x="1135892" y="298288"/>
                </a:moveTo>
                <a:cubicBezTo>
                  <a:pt x="1145320" y="298288"/>
                  <a:pt x="1152705" y="300645"/>
                  <a:pt x="1158049" y="305358"/>
                </a:cubicBezTo>
                <a:cubicBezTo>
                  <a:pt x="1163393" y="310072"/>
                  <a:pt x="1166161" y="316553"/>
                  <a:pt x="1166366" y="324830"/>
                </a:cubicBezTo>
                <a:lnTo>
                  <a:pt x="1166366" y="362484"/>
                </a:lnTo>
                <a:cubicBezTo>
                  <a:pt x="1166366" y="369993"/>
                  <a:pt x="1167326" y="375967"/>
                  <a:pt x="1169244" y="380407"/>
                </a:cubicBezTo>
                <a:lnTo>
                  <a:pt x="1169244" y="381613"/>
                </a:lnTo>
                <a:lnTo>
                  <a:pt x="1154582" y="381613"/>
                </a:lnTo>
                <a:lnTo>
                  <a:pt x="1154555" y="381572"/>
                </a:lnTo>
                <a:cubicBezTo>
                  <a:pt x="1153746" y="379955"/>
                  <a:pt x="1153089" y="377091"/>
                  <a:pt x="1152596" y="372953"/>
                </a:cubicBezTo>
                <a:cubicBezTo>
                  <a:pt x="1146087" y="379708"/>
                  <a:pt x="1138331" y="383079"/>
                  <a:pt x="1129315" y="383079"/>
                </a:cubicBezTo>
                <a:cubicBezTo>
                  <a:pt x="1121244" y="383079"/>
                  <a:pt x="1114640" y="380804"/>
                  <a:pt x="1109474" y="376241"/>
                </a:cubicBezTo>
                <a:cubicBezTo>
                  <a:pt x="1104308" y="371679"/>
                  <a:pt x="1101718" y="365896"/>
                  <a:pt x="1101718" y="358894"/>
                </a:cubicBezTo>
                <a:cubicBezTo>
                  <a:pt x="1101718" y="350371"/>
                  <a:pt x="1104952" y="343767"/>
                  <a:pt x="1111433" y="339053"/>
                </a:cubicBezTo>
                <a:cubicBezTo>
                  <a:pt x="1117914" y="334339"/>
                  <a:pt x="1127013" y="331982"/>
                  <a:pt x="1138770" y="331982"/>
                </a:cubicBezTo>
                <a:lnTo>
                  <a:pt x="1152376" y="331982"/>
                </a:lnTo>
                <a:lnTo>
                  <a:pt x="1152376" y="325556"/>
                </a:lnTo>
                <a:cubicBezTo>
                  <a:pt x="1152376" y="320664"/>
                  <a:pt x="1150910" y="316773"/>
                  <a:pt x="1147992" y="313882"/>
                </a:cubicBezTo>
                <a:cubicBezTo>
                  <a:pt x="1145073" y="310977"/>
                  <a:pt x="1140756" y="309538"/>
                  <a:pt x="1135056" y="309538"/>
                </a:cubicBezTo>
                <a:cubicBezTo>
                  <a:pt x="1130069" y="309538"/>
                  <a:pt x="1125876" y="310798"/>
                  <a:pt x="1122505" y="313320"/>
                </a:cubicBezTo>
                <a:cubicBezTo>
                  <a:pt x="1119134" y="315841"/>
                  <a:pt x="1117435" y="318897"/>
                  <a:pt x="1117435" y="322473"/>
                </a:cubicBezTo>
                <a:lnTo>
                  <a:pt x="1103376" y="322473"/>
                </a:lnTo>
                <a:cubicBezTo>
                  <a:pt x="1103376" y="318390"/>
                  <a:pt x="1104829" y="314443"/>
                  <a:pt x="1107720" y="310648"/>
                </a:cubicBezTo>
                <a:cubicBezTo>
                  <a:pt x="1110611" y="306852"/>
                  <a:pt x="1114544" y="303838"/>
                  <a:pt x="1119518" y="301618"/>
                </a:cubicBezTo>
                <a:cubicBezTo>
                  <a:pt x="1124478" y="299398"/>
                  <a:pt x="1129932" y="298288"/>
                  <a:pt x="1135892" y="298288"/>
                </a:cubicBezTo>
                <a:close/>
                <a:moveTo>
                  <a:pt x="1977182" y="298261"/>
                </a:moveTo>
                <a:cubicBezTo>
                  <a:pt x="1987816" y="298261"/>
                  <a:pt x="1996078" y="301769"/>
                  <a:pt x="2001984" y="308770"/>
                </a:cubicBezTo>
                <a:cubicBezTo>
                  <a:pt x="2007876" y="315773"/>
                  <a:pt x="2010836" y="325803"/>
                  <a:pt x="2010836" y="338861"/>
                </a:cubicBezTo>
                <a:lnTo>
                  <a:pt x="2010836" y="344685"/>
                </a:lnTo>
                <a:lnTo>
                  <a:pt x="1955423" y="344685"/>
                </a:lnTo>
                <a:cubicBezTo>
                  <a:pt x="1955628" y="352756"/>
                  <a:pt x="1957985" y="359264"/>
                  <a:pt x="1962493" y="364224"/>
                </a:cubicBezTo>
                <a:cubicBezTo>
                  <a:pt x="1967002" y="369185"/>
                  <a:pt x="1972743" y="371665"/>
                  <a:pt x="1979690" y="371665"/>
                </a:cubicBezTo>
                <a:cubicBezTo>
                  <a:pt x="1984623" y="371665"/>
                  <a:pt x="1988816" y="370651"/>
                  <a:pt x="1992241" y="368637"/>
                </a:cubicBezTo>
                <a:cubicBezTo>
                  <a:pt x="1995667" y="366622"/>
                  <a:pt x="1998668" y="363950"/>
                  <a:pt x="2001244" y="360621"/>
                </a:cubicBezTo>
                <a:lnTo>
                  <a:pt x="2009780" y="367280"/>
                </a:lnTo>
                <a:cubicBezTo>
                  <a:pt x="2002929" y="377817"/>
                  <a:pt x="1992639" y="383079"/>
                  <a:pt x="1978936" y="383079"/>
                </a:cubicBezTo>
                <a:lnTo>
                  <a:pt x="1978936" y="383093"/>
                </a:lnTo>
                <a:cubicBezTo>
                  <a:pt x="1967851" y="383093"/>
                  <a:pt x="1958821" y="379448"/>
                  <a:pt x="1951874" y="372172"/>
                </a:cubicBezTo>
                <a:cubicBezTo>
                  <a:pt x="1944927" y="364896"/>
                  <a:pt x="1941433" y="355153"/>
                  <a:pt x="1941433" y="342945"/>
                </a:cubicBezTo>
                <a:lnTo>
                  <a:pt x="1941433" y="340368"/>
                </a:lnTo>
                <a:cubicBezTo>
                  <a:pt x="1941433" y="332257"/>
                  <a:pt x="1942981" y="325008"/>
                  <a:pt x="1946078" y="318636"/>
                </a:cubicBezTo>
                <a:cubicBezTo>
                  <a:pt x="1949174" y="312265"/>
                  <a:pt x="1953518" y="307277"/>
                  <a:pt x="1959082" y="303673"/>
                </a:cubicBezTo>
                <a:cubicBezTo>
                  <a:pt x="1964645" y="300069"/>
                  <a:pt x="1970687" y="298261"/>
                  <a:pt x="1977182" y="298261"/>
                </a:cubicBezTo>
                <a:close/>
                <a:moveTo>
                  <a:pt x="1895105" y="298261"/>
                </a:moveTo>
                <a:cubicBezTo>
                  <a:pt x="1904381" y="298261"/>
                  <a:pt x="1911904" y="300659"/>
                  <a:pt x="1917673" y="305441"/>
                </a:cubicBezTo>
                <a:cubicBezTo>
                  <a:pt x="1923442" y="310237"/>
                  <a:pt x="1926333" y="316348"/>
                  <a:pt x="1926333" y="323816"/>
                </a:cubicBezTo>
                <a:lnTo>
                  <a:pt x="1912274" y="323816"/>
                </a:lnTo>
                <a:cubicBezTo>
                  <a:pt x="1912274" y="319993"/>
                  <a:pt x="1910644" y="316677"/>
                  <a:pt x="1907396" y="313909"/>
                </a:cubicBezTo>
                <a:cubicBezTo>
                  <a:pt x="1904148" y="311141"/>
                  <a:pt x="1900052" y="309757"/>
                  <a:pt x="1895105" y="309757"/>
                </a:cubicBezTo>
                <a:cubicBezTo>
                  <a:pt x="1890158" y="309757"/>
                  <a:pt x="1886034" y="310867"/>
                  <a:pt x="1883156" y="313087"/>
                </a:cubicBezTo>
                <a:cubicBezTo>
                  <a:pt x="1880279" y="315307"/>
                  <a:pt x="1878840" y="318198"/>
                  <a:pt x="1878840" y="321774"/>
                </a:cubicBezTo>
                <a:cubicBezTo>
                  <a:pt x="1878840" y="325145"/>
                  <a:pt x="1880169" y="327694"/>
                  <a:pt x="1882841" y="329406"/>
                </a:cubicBezTo>
                <a:cubicBezTo>
                  <a:pt x="1885513" y="331119"/>
                  <a:pt x="1890336" y="332764"/>
                  <a:pt x="1897325" y="334326"/>
                </a:cubicBezTo>
                <a:cubicBezTo>
                  <a:pt x="1904299" y="335888"/>
                  <a:pt x="1909958" y="337751"/>
                  <a:pt x="1914302" y="339916"/>
                </a:cubicBezTo>
                <a:cubicBezTo>
                  <a:pt x="1918632" y="342081"/>
                  <a:pt x="1921852" y="344698"/>
                  <a:pt x="1923948" y="347740"/>
                </a:cubicBezTo>
                <a:cubicBezTo>
                  <a:pt x="1926045" y="350796"/>
                  <a:pt x="1927086" y="354509"/>
                  <a:pt x="1927086" y="358894"/>
                </a:cubicBezTo>
                <a:cubicBezTo>
                  <a:pt x="1927086" y="366198"/>
                  <a:pt x="1924168" y="372062"/>
                  <a:pt x="1918317" y="376474"/>
                </a:cubicBezTo>
                <a:cubicBezTo>
                  <a:pt x="1912466" y="380887"/>
                  <a:pt x="1904888" y="383093"/>
                  <a:pt x="1895557" y="383093"/>
                </a:cubicBezTo>
                <a:cubicBezTo>
                  <a:pt x="1889007" y="383093"/>
                  <a:pt x="1883211" y="381928"/>
                  <a:pt x="1878168" y="379612"/>
                </a:cubicBezTo>
                <a:cubicBezTo>
                  <a:pt x="1873126" y="377297"/>
                  <a:pt x="1869180" y="374049"/>
                  <a:pt x="1866343" y="369897"/>
                </a:cubicBezTo>
                <a:cubicBezTo>
                  <a:pt x="1863493" y="365732"/>
                  <a:pt x="1862068" y="361237"/>
                  <a:pt x="1862068" y="356400"/>
                </a:cubicBezTo>
                <a:lnTo>
                  <a:pt x="1876058" y="356400"/>
                </a:lnTo>
                <a:cubicBezTo>
                  <a:pt x="1876305" y="361087"/>
                  <a:pt x="1878182" y="364800"/>
                  <a:pt x="1881690" y="367554"/>
                </a:cubicBezTo>
                <a:cubicBezTo>
                  <a:pt x="1885198" y="370308"/>
                  <a:pt x="1889816" y="371679"/>
                  <a:pt x="1895557" y="371679"/>
                </a:cubicBezTo>
                <a:cubicBezTo>
                  <a:pt x="1900846" y="371679"/>
                  <a:pt x="1905094" y="370610"/>
                  <a:pt x="1908300" y="368472"/>
                </a:cubicBezTo>
                <a:cubicBezTo>
                  <a:pt x="1911507" y="366335"/>
                  <a:pt x="1913096" y="363471"/>
                  <a:pt x="1913096" y="359894"/>
                </a:cubicBezTo>
                <a:lnTo>
                  <a:pt x="1913096" y="359881"/>
                </a:lnTo>
                <a:cubicBezTo>
                  <a:pt x="1913096" y="356099"/>
                  <a:pt x="1911671" y="353167"/>
                  <a:pt x="1908821" y="351070"/>
                </a:cubicBezTo>
                <a:cubicBezTo>
                  <a:pt x="1905971" y="348974"/>
                  <a:pt x="1901010" y="347179"/>
                  <a:pt x="1893926" y="345658"/>
                </a:cubicBezTo>
                <a:cubicBezTo>
                  <a:pt x="1886842" y="344137"/>
                  <a:pt x="1881224" y="342328"/>
                  <a:pt x="1877072" y="340218"/>
                </a:cubicBezTo>
                <a:cubicBezTo>
                  <a:pt x="1872907" y="338108"/>
                  <a:pt x="1869837" y="335586"/>
                  <a:pt x="1867851" y="332654"/>
                </a:cubicBezTo>
                <a:cubicBezTo>
                  <a:pt x="1865864" y="329735"/>
                  <a:pt x="1864864" y="326255"/>
                  <a:pt x="1864864" y="322226"/>
                </a:cubicBezTo>
                <a:cubicBezTo>
                  <a:pt x="1864864" y="315526"/>
                  <a:pt x="1867700" y="309853"/>
                  <a:pt x="1873373" y="305222"/>
                </a:cubicBezTo>
                <a:cubicBezTo>
                  <a:pt x="1879045" y="300590"/>
                  <a:pt x="1886294" y="298261"/>
                  <a:pt x="1895105" y="298261"/>
                </a:cubicBezTo>
                <a:close/>
                <a:moveTo>
                  <a:pt x="1778661" y="298261"/>
                </a:moveTo>
                <a:cubicBezTo>
                  <a:pt x="1789294" y="298261"/>
                  <a:pt x="1797557" y="301769"/>
                  <a:pt x="1803463" y="308770"/>
                </a:cubicBezTo>
                <a:cubicBezTo>
                  <a:pt x="1809355" y="315773"/>
                  <a:pt x="1812314" y="325803"/>
                  <a:pt x="1812314" y="338861"/>
                </a:cubicBezTo>
                <a:lnTo>
                  <a:pt x="1812314" y="344685"/>
                </a:lnTo>
                <a:lnTo>
                  <a:pt x="1756902" y="344685"/>
                </a:lnTo>
                <a:cubicBezTo>
                  <a:pt x="1757107" y="352756"/>
                  <a:pt x="1759464" y="359264"/>
                  <a:pt x="1763972" y="364224"/>
                </a:cubicBezTo>
                <a:cubicBezTo>
                  <a:pt x="1768480" y="369185"/>
                  <a:pt x="1774222" y="371665"/>
                  <a:pt x="1781169" y="371665"/>
                </a:cubicBezTo>
                <a:cubicBezTo>
                  <a:pt x="1786102" y="371665"/>
                  <a:pt x="1790294" y="370651"/>
                  <a:pt x="1793720" y="368637"/>
                </a:cubicBezTo>
                <a:cubicBezTo>
                  <a:pt x="1797146" y="366622"/>
                  <a:pt x="1800147" y="363950"/>
                  <a:pt x="1802723" y="360621"/>
                </a:cubicBezTo>
                <a:lnTo>
                  <a:pt x="1811259" y="367280"/>
                </a:lnTo>
                <a:cubicBezTo>
                  <a:pt x="1804408" y="377817"/>
                  <a:pt x="1794118" y="383079"/>
                  <a:pt x="1780415" y="383079"/>
                </a:cubicBezTo>
                <a:lnTo>
                  <a:pt x="1780415" y="383093"/>
                </a:lnTo>
                <a:cubicBezTo>
                  <a:pt x="1769330" y="383093"/>
                  <a:pt x="1760300" y="379448"/>
                  <a:pt x="1753353" y="372172"/>
                </a:cubicBezTo>
                <a:cubicBezTo>
                  <a:pt x="1746406" y="364896"/>
                  <a:pt x="1742911" y="355153"/>
                  <a:pt x="1742911" y="342945"/>
                </a:cubicBezTo>
                <a:lnTo>
                  <a:pt x="1742911" y="340368"/>
                </a:lnTo>
                <a:cubicBezTo>
                  <a:pt x="1742911" y="332257"/>
                  <a:pt x="1744460" y="325008"/>
                  <a:pt x="1747556" y="318636"/>
                </a:cubicBezTo>
                <a:cubicBezTo>
                  <a:pt x="1750653" y="312265"/>
                  <a:pt x="1754997" y="307277"/>
                  <a:pt x="1760560" y="303673"/>
                </a:cubicBezTo>
                <a:cubicBezTo>
                  <a:pt x="1766124" y="300069"/>
                  <a:pt x="1772166" y="298261"/>
                  <a:pt x="1778661" y="298261"/>
                </a:cubicBezTo>
                <a:close/>
                <a:moveTo>
                  <a:pt x="1729168" y="298261"/>
                </a:moveTo>
                <a:cubicBezTo>
                  <a:pt x="1731895" y="298261"/>
                  <a:pt x="1733964" y="298617"/>
                  <a:pt x="1735375" y="299316"/>
                </a:cubicBezTo>
                <a:lnTo>
                  <a:pt x="1735375" y="312319"/>
                </a:lnTo>
                <a:cubicBezTo>
                  <a:pt x="1733265" y="311963"/>
                  <a:pt x="1730963" y="311785"/>
                  <a:pt x="1728496" y="311785"/>
                </a:cubicBezTo>
                <a:cubicBezTo>
                  <a:pt x="1719316" y="311785"/>
                  <a:pt x="1713095" y="315690"/>
                  <a:pt x="1709820" y="323501"/>
                </a:cubicBezTo>
                <a:lnTo>
                  <a:pt x="1709820" y="381572"/>
                </a:lnTo>
                <a:lnTo>
                  <a:pt x="1695830" y="381572"/>
                </a:lnTo>
                <a:lnTo>
                  <a:pt x="1695830" y="299768"/>
                </a:lnTo>
                <a:lnTo>
                  <a:pt x="1709436" y="299768"/>
                </a:lnTo>
                <a:lnTo>
                  <a:pt x="1709669" y="309223"/>
                </a:lnTo>
                <a:cubicBezTo>
                  <a:pt x="1714260" y="301919"/>
                  <a:pt x="1720754" y="298261"/>
                  <a:pt x="1729168" y="298261"/>
                </a:cubicBezTo>
                <a:close/>
                <a:moveTo>
                  <a:pt x="1522713" y="298261"/>
                </a:moveTo>
                <a:cubicBezTo>
                  <a:pt x="1531990" y="298261"/>
                  <a:pt x="1539512" y="300659"/>
                  <a:pt x="1545281" y="305441"/>
                </a:cubicBezTo>
                <a:cubicBezTo>
                  <a:pt x="1551050" y="310237"/>
                  <a:pt x="1553940" y="316348"/>
                  <a:pt x="1553940" y="323816"/>
                </a:cubicBezTo>
                <a:lnTo>
                  <a:pt x="1539882" y="323816"/>
                </a:lnTo>
                <a:cubicBezTo>
                  <a:pt x="1539882" y="319993"/>
                  <a:pt x="1538251" y="316677"/>
                  <a:pt x="1535004" y="313909"/>
                </a:cubicBezTo>
                <a:cubicBezTo>
                  <a:pt x="1531756" y="311141"/>
                  <a:pt x="1527659" y="309757"/>
                  <a:pt x="1522713" y="309757"/>
                </a:cubicBezTo>
                <a:cubicBezTo>
                  <a:pt x="1517766" y="309757"/>
                  <a:pt x="1513642" y="310867"/>
                  <a:pt x="1510764" y="313087"/>
                </a:cubicBezTo>
                <a:cubicBezTo>
                  <a:pt x="1507887" y="315307"/>
                  <a:pt x="1506448" y="318198"/>
                  <a:pt x="1506448" y="321774"/>
                </a:cubicBezTo>
                <a:cubicBezTo>
                  <a:pt x="1506448" y="325145"/>
                  <a:pt x="1507777" y="327694"/>
                  <a:pt x="1510449" y="329406"/>
                </a:cubicBezTo>
                <a:cubicBezTo>
                  <a:pt x="1513121" y="331119"/>
                  <a:pt x="1517944" y="332764"/>
                  <a:pt x="1524933" y="334326"/>
                </a:cubicBezTo>
                <a:cubicBezTo>
                  <a:pt x="1531907" y="335888"/>
                  <a:pt x="1537566" y="337751"/>
                  <a:pt x="1541910" y="339916"/>
                </a:cubicBezTo>
                <a:cubicBezTo>
                  <a:pt x="1546240" y="342081"/>
                  <a:pt x="1549460" y="344698"/>
                  <a:pt x="1551556" y="347740"/>
                </a:cubicBezTo>
                <a:cubicBezTo>
                  <a:pt x="1553653" y="350796"/>
                  <a:pt x="1554694" y="354509"/>
                  <a:pt x="1554694" y="358894"/>
                </a:cubicBezTo>
                <a:cubicBezTo>
                  <a:pt x="1554694" y="366198"/>
                  <a:pt x="1551776" y="372062"/>
                  <a:pt x="1545925" y="376474"/>
                </a:cubicBezTo>
                <a:cubicBezTo>
                  <a:pt x="1540074" y="380887"/>
                  <a:pt x="1532496" y="383093"/>
                  <a:pt x="1523165" y="383093"/>
                </a:cubicBezTo>
                <a:cubicBezTo>
                  <a:pt x="1516615" y="383093"/>
                  <a:pt x="1510819" y="381928"/>
                  <a:pt x="1505777" y="379612"/>
                </a:cubicBezTo>
                <a:cubicBezTo>
                  <a:pt x="1500734" y="377297"/>
                  <a:pt x="1496788" y="374049"/>
                  <a:pt x="1493951" y="369897"/>
                </a:cubicBezTo>
                <a:cubicBezTo>
                  <a:pt x="1491101" y="365732"/>
                  <a:pt x="1489676" y="361237"/>
                  <a:pt x="1489676" y="356400"/>
                </a:cubicBezTo>
                <a:lnTo>
                  <a:pt x="1503666" y="356400"/>
                </a:lnTo>
                <a:cubicBezTo>
                  <a:pt x="1503913" y="361087"/>
                  <a:pt x="1505790" y="364800"/>
                  <a:pt x="1509298" y="367554"/>
                </a:cubicBezTo>
                <a:cubicBezTo>
                  <a:pt x="1512806" y="370308"/>
                  <a:pt x="1517424" y="371679"/>
                  <a:pt x="1523165" y="371679"/>
                </a:cubicBezTo>
                <a:cubicBezTo>
                  <a:pt x="1528454" y="371679"/>
                  <a:pt x="1532702" y="370610"/>
                  <a:pt x="1535908" y="368472"/>
                </a:cubicBezTo>
                <a:cubicBezTo>
                  <a:pt x="1539114" y="366335"/>
                  <a:pt x="1540704" y="363471"/>
                  <a:pt x="1540704" y="359894"/>
                </a:cubicBezTo>
                <a:lnTo>
                  <a:pt x="1540704" y="359881"/>
                </a:lnTo>
                <a:cubicBezTo>
                  <a:pt x="1540704" y="356099"/>
                  <a:pt x="1539279" y="353167"/>
                  <a:pt x="1536429" y="351070"/>
                </a:cubicBezTo>
                <a:cubicBezTo>
                  <a:pt x="1533579" y="348974"/>
                  <a:pt x="1528618" y="347179"/>
                  <a:pt x="1521534" y="345658"/>
                </a:cubicBezTo>
                <a:cubicBezTo>
                  <a:pt x="1514450" y="344137"/>
                  <a:pt x="1508832" y="342328"/>
                  <a:pt x="1504680" y="340218"/>
                </a:cubicBezTo>
                <a:cubicBezTo>
                  <a:pt x="1500515" y="338108"/>
                  <a:pt x="1497445" y="335586"/>
                  <a:pt x="1495458" y="332654"/>
                </a:cubicBezTo>
                <a:cubicBezTo>
                  <a:pt x="1493472" y="329735"/>
                  <a:pt x="1492471" y="326255"/>
                  <a:pt x="1492471" y="322226"/>
                </a:cubicBezTo>
                <a:cubicBezTo>
                  <a:pt x="1492471" y="315526"/>
                  <a:pt x="1495308" y="309853"/>
                  <a:pt x="1500981" y="305222"/>
                </a:cubicBezTo>
                <a:cubicBezTo>
                  <a:pt x="1506653" y="300590"/>
                  <a:pt x="1513902" y="298261"/>
                  <a:pt x="1522713" y="298261"/>
                </a:cubicBezTo>
                <a:close/>
                <a:moveTo>
                  <a:pt x="1006458" y="298261"/>
                </a:moveTo>
                <a:cubicBezTo>
                  <a:pt x="1017900" y="298261"/>
                  <a:pt x="1025683" y="302646"/>
                  <a:pt x="1029821" y="311415"/>
                </a:cubicBezTo>
                <a:cubicBezTo>
                  <a:pt x="1032548" y="307482"/>
                  <a:pt x="1036083" y="304303"/>
                  <a:pt x="1040441" y="301892"/>
                </a:cubicBezTo>
                <a:cubicBezTo>
                  <a:pt x="1044798" y="299467"/>
                  <a:pt x="1049950" y="298261"/>
                  <a:pt x="1055897" y="298261"/>
                </a:cubicBezTo>
                <a:cubicBezTo>
                  <a:pt x="1073834" y="298261"/>
                  <a:pt x="1082960" y="307757"/>
                  <a:pt x="1083261" y="326762"/>
                </a:cubicBezTo>
                <a:lnTo>
                  <a:pt x="1083261" y="381572"/>
                </a:lnTo>
                <a:lnTo>
                  <a:pt x="1069271" y="381572"/>
                </a:lnTo>
                <a:lnTo>
                  <a:pt x="1069271" y="327584"/>
                </a:lnTo>
                <a:cubicBezTo>
                  <a:pt x="1069271" y="321733"/>
                  <a:pt x="1067928" y="317362"/>
                  <a:pt x="1065270" y="314471"/>
                </a:cubicBezTo>
                <a:cubicBezTo>
                  <a:pt x="1062598" y="311566"/>
                  <a:pt x="1058117" y="310127"/>
                  <a:pt x="1051814" y="310127"/>
                </a:cubicBezTo>
                <a:cubicBezTo>
                  <a:pt x="1046620" y="310127"/>
                  <a:pt x="1042318" y="311676"/>
                  <a:pt x="1038879" y="314772"/>
                </a:cubicBezTo>
                <a:cubicBezTo>
                  <a:pt x="1035453" y="317869"/>
                  <a:pt x="1033466" y="322048"/>
                  <a:pt x="1032904" y="327283"/>
                </a:cubicBezTo>
                <a:lnTo>
                  <a:pt x="1032904" y="381572"/>
                </a:lnTo>
                <a:lnTo>
                  <a:pt x="1018846" y="381572"/>
                </a:lnTo>
                <a:lnTo>
                  <a:pt x="1018846" y="327968"/>
                </a:lnTo>
                <a:cubicBezTo>
                  <a:pt x="1018846" y="316074"/>
                  <a:pt x="1013022" y="310127"/>
                  <a:pt x="1001375" y="310127"/>
                </a:cubicBezTo>
                <a:cubicBezTo>
                  <a:pt x="992194" y="310127"/>
                  <a:pt x="985932" y="314032"/>
                  <a:pt x="982548" y="321843"/>
                </a:cubicBezTo>
                <a:lnTo>
                  <a:pt x="982548" y="381572"/>
                </a:lnTo>
                <a:lnTo>
                  <a:pt x="968558" y="381572"/>
                </a:lnTo>
                <a:lnTo>
                  <a:pt x="968558" y="299768"/>
                </a:lnTo>
                <a:lnTo>
                  <a:pt x="981794" y="299768"/>
                </a:lnTo>
                <a:lnTo>
                  <a:pt x="981808" y="299768"/>
                </a:lnTo>
                <a:lnTo>
                  <a:pt x="982192" y="308839"/>
                </a:lnTo>
                <a:cubicBezTo>
                  <a:pt x="988193" y="301782"/>
                  <a:pt x="996278" y="298261"/>
                  <a:pt x="1006458" y="298261"/>
                </a:cubicBezTo>
                <a:close/>
                <a:moveTo>
                  <a:pt x="2064892" y="298247"/>
                </a:moveTo>
                <a:cubicBezTo>
                  <a:pt x="2082184" y="298247"/>
                  <a:pt x="2090899" y="308003"/>
                  <a:pt x="2091050" y="327502"/>
                </a:cubicBezTo>
                <a:lnTo>
                  <a:pt x="2091050" y="381558"/>
                </a:lnTo>
                <a:lnTo>
                  <a:pt x="2077060" y="381558"/>
                </a:lnTo>
                <a:lnTo>
                  <a:pt x="2077060" y="327420"/>
                </a:lnTo>
                <a:cubicBezTo>
                  <a:pt x="2077005" y="321527"/>
                  <a:pt x="2075662" y="317156"/>
                  <a:pt x="2073018" y="314334"/>
                </a:cubicBezTo>
                <a:cubicBezTo>
                  <a:pt x="2070373" y="311511"/>
                  <a:pt x="2066248" y="310100"/>
                  <a:pt x="2060658" y="310100"/>
                </a:cubicBezTo>
                <a:cubicBezTo>
                  <a:pt x="2056122" y="310100"/>
                  <a:pt x="2052135" y="311305"/>
                  <a:pt x="2048709" y="313731"/>
                </a:cubicBezTo>
                <a:cubicBezTo>
                  <a:pt x="2045284" y="316156"/>
                  <a:pt x="2042612" y="319321"/>
                  <a:pt x="2040694" y="323254"/>
                </a:cubicBezTo>
                <a:lnTo>
                  <a:pt x="2040694" y="381544"/>
                </a:lnTo>
                <a:lnTo>
                  <a:pt x="2026703" y="381544"/>
                </a:lnTo>
                <a:lnTo>
                  <a:pt x="2026703" y="299741"/>
                </a:lnTo>
                <a:lnTo>
                  <a:pt x="2039940" y="299741"/>
                </a:lnTo>
                <a:lnTo>
                  <a:pt x="2039940" y="299768"/>
                </a:lnTo>
                <a:lnTo>
                  <a:pt x="2040392" y="310045"/>
                </a:lnTo>
                <a:cubicBezTo>
                  <a:pt x="2046640" y="302179"/>
                  <a:pt x="2054807" y="298247"/>
                  <a:pt x="2064892" y="298247"/>
                </a:cubicBezTo>
                <a:close/>
                <a:moveTo>
                  <a:pt x="1577605" y="279982"/>
                </a:moveTo>
                <a:lnTo>
                  <a:pt x="1591581" y="279982"/>
                </a:lnTo>
                <a:lnTo>
                  <a:pt x="1591581" y="299782"/>
                </a:lnTo>
                <a:lnTo>
                  <a:pt x="1606846" y="299782"/>
                </a:lnTo>
                <a:lnTo>
                  <a:pt x="1606846" y="310593"/>
                </a:lnTo>
                <a:lnTo>
                  <a:pt x="1591581" y="310593"/>
                </a:lnTo>
                <a:lnTo>
                  <a:pt x="1591581" y="361388"/>
                </a:lnTo>
                <a:cubicBezTo>
                  <a:pt x="1591581" y="364663"/>
                  <a:pt x="1592267" y="367129"/>
                  <a:pt x="1593623" y="368773"/>
                </a:cubicBezTo>
                <a:cubicBezTo>
                  <a:pt x="1594980" y="370418"/>
                  <a:pt x="1597295" y="371226"/>
                  <a:pt x="1600584" y="371226"/>
                </a:cubicBezTo>
                <a:cubicBezTo>
                  <a:pt x="1602201" y="371226"/>
                  <a:pt x="1604407" y="370925"/>
                  <a:pt x="1607243" y="370322"/>
                </a:cubicBezTo>
                <a:lnTo>
                  <a:pt x="1607243" y="381599"/>
                </a:lnTo>
                <a:cubicBezTo>
                  <a:pt x="1603557" y="382599"/>
                  <a:pt x="1599981" y="383106"/>
                  <a:pt x="1596514" y="383106"/>
                </a:cubicBezTo>
                <a:cubicBezTo>
                  <a:pt x="1590266" y="383106"/>
                  <a:pt x="1585552" y="381215"/>
                  <a:pt x="1582373" y="377433"/>
                </a:cubicBezTo>
                <a:cubicBezTo>
                  <a:pt x="1579194" y="373652"/>
                  <a:pt x="1577605" y="368280"/>
                  <a:pt x="1577605" y="361333"/>
                </a:cubicBezTo>
                <a:lnTo>
                  <a:pt x="1577605" y="310607"/>
                </a:lnTo>
                <a:lnTo>
                  <a:pt x="1562710" y="310607"/>
                </a:lnTo>
                <a:lnTo>
                  <a:pt x="1562710" y="299795"/>
                </a:lnTo>
                <a:lnTo>
                  <a:pt x="1577605" y="299795"/>
                </a:lnTo>
                <a:close/>
                <a:moveTo>
                  <a:pt x="1363901" y="279982"/>
                </a:moveTo>
                <a:lnTo>
                  <a:pt x="1377878" y="279982"/>
                </a:lnTo>
                <a:lnTo>
                  <a:pt x="1377878" y="299782"/>
                </a:lnTo>
                <a:lnTo>
                  <a:pt x="1393142" y="299782"/>
                </a:lnTo>
                <a:lnTo>
                  <a:pt x="1393142" y="310593"/>
                </a:lnTo>
                <a:lnTo>
                  <a:pt x="1377878" y="310593"/>
                </a:lnTo>
                <a:lnTo>
                  <a:pt x="1377878" y="361388"/>
                </a:lnTo>
                <a:cubicBezTo>
                  <a:pt x="1377878" y="364663"/>
                  <a:pt x="1378563" y="367129"/>
                  <a:pt x="1379920" y="368773"/>
                </a:cubicBezTo>
                <a:cubicBezTo>
                  <a:pt x="1381276" y="370418"/>
                  <a:pt x="1383592" y="371226"/>
                  <a:pt x="1386880" y="371226"/>
                </a:cubicBezTo>
                <a:cubicBezTo>
                  <a:pt x="1388497" y="371226"/>
                  <a:pt x="1390703" y="370925"/>
                  <a:pt x="1393540" y="370322"/>
                </a:cubicBezTo>
                <a:lnTo>
                  <a:pt x="1393540" y="381599"/>
                </a:lnTo>
                <a:cubicBezTo>
                  <a:pt x="1389854" y="382599"/>
                  <a:pt x="1386277" y="383106"/>
                  <a:pt x="1382811" y="383106"/>
                </a:cubicBezTo>
                <a:cubicBezTo>
                  <a:pt x="1376562" y="383106"/>
                  <a:pt x="1371849" y="381215"/>
                  <a:pt x="1368670" y="377433"/>
                </a:cubicBezTo>
                <a:cubicBezTo>
                  <a:pt x="1365491" y="373652"/>
                  <a:pt x="1363901" y="368280"/>
                  <a:pt x="1363901" y="361333"/>
                </a:cubicBezTo>
                <a:lnTo>
                  <a:pt x="1363901" y="310607"/>
                </a:lnTo>
                <a:lnTo>
                  <a:pt x="1349007" y="310607"/>
                </a:lnTo>
                <a:lnTo>
                  <a:pt x="1349007" y="299795"/>
                </a:lnTo>
                <a:lnTo>
                  <a:pt x="1363901" y="299795"/>
                </a:lnTo>
                <a:close/>
                <a:moveTo>
                  <a:pt x="1591581" y="279968"/>
                </a:moveTo>
                <a:lnTo>
                  <a:pt x="1591595" y="279982"/>
                </a:lnTo>
                <a:lnTo>
                  <a:pt x="1591581" y="279982"/>
                </a:lnTo>
                <a:close/>
                <a:moveTo>
                  <a:pt x="1377878" y="279968"/>
                </a:moveTo>
                <a:lnTo>
                  <a:pt x="1377891" y="279982"/>
                </a:lnTo>
                <a:lnTo>
                  <a:pt x="1377878" y="279982"/>
                </a:lnTo>
                <a:close/>
                <a:moveTo>
                  <a:pt x="799552" y="271500"/>
                </a:moveTo>
                <a:lnTo>
                  <a:pt x="814063" y="271500"/>
                </a:lnTo>
                <a:lnTo>
                  <a:pt x="814063" y="325940"/>
                </a:lnTo>
                <a:lnTo>
                  <a:pt x="862980" y="271500"/>
                </a:lnTo>
                <a:lnTo>
                  <a:pt x="880519" y="271500"/>
                </a:lnTo>
                <a:lnTo>
                  <a:pt x="837192" y="320116"/>
                </a:lnTo>
                <a:lnTo>
                  <a:pt x="883917" y="381585"/>
                </a:lnTo>
                <a:lnTo>
                  <a:pt x="866529" y="381585"/>
                </a:lnTo>
                <a:lnTo>
                  <a:pt x="827518" y="330407"/>
                </a:lnTo>
                <a:lnTo>
                  <a:pt x="827518" y="330393"/>
                </a:lnTo>
                <a:lnTo>
                  <a:pt x="814063" y="344383"/>
                </a:lnTo>
                <a:lnTo>
                  <a:pt x="814063" y="381585"/>
                </a:lnTo>
                <a:lnTo>
                  <a:pt x="799552" y="381585"/>
                </a:lnTo>
                <a:close/>
                <a:moveTo>
                  <a:pt x="939714" y="269993"/>
                </a:moveTo>
                <a:cubicBezTo>
                  <a:pt x="942441" y="269993"/>
                  <a:pt x="944496" y="270774"/>
                  <a:pt x="945907" y="272336"/>
                </a:cubicBezTo>
                <a:cubicBezTo>
                  <a:pt x="947319" y="273898"/>
                  <a:pt x="948018" y="275816"/>
                  <a:pt x="948018" y="278077"/>
                </a:cubicBezTo>
                <a:cubicBezTo>
                  <a:pt x="948018" y="280338"/>
                  <a:pt x="947305" y="282243"/>
                  <a:pt x="945907" y="283750"/>
                </a:cubicBezTo>
                <a:cubicBezTo>
                  <a:pt x="944496" y="285257"/>
                  <a:pt x="942427" y="286025"/>
                  <a:pt x="939714" y="286025"/>
                </a:cubicBezTo>
                <a:cubicBezTo>
                  <a:pt x="937001" y="286025"/>
                  <a:pt x="934932" y="285271"/>
                  <a:pt x="933548" y="283750"/>
                </a:cubicBezTo>
                <a:cubicBezTo>
                  <a:pt x="932164" y="282229"/>
                  <a:pt x="931465" y="280352"/>
                  <a:pt x="931465" y="278077"/>
                </a:cubicBezTo>
                <a:cubicBezTo>
                  <a:pt x="931465" y="275803"/>
                  <a:pt x="932164" y="273898"/>
                  <a:pt x="933548" y="272336"/>
                </a:cubicBezTo>
                <a:cubicBezTo>
                  <a:pt x="934932" y="270774"/>
                  <a:pt x="936987" y="269993"/>
                  <a:pt x="939714" y="269993"/>
                </a:cubicBezTo>
                <a:close/>
                <a:moveTo>
                  <a:pt x="1829401" y="265443"/>
                </a:moveTo>
                <a:lnTo>
                  <a:pt x="1843392" y="265443"/>
                </a:lnTo>
                <a:lnTo>
                  <a:pt x="1843392" y="381572"/>
                </a:lnTo>
                <a:lnTo>
                  <a:pt x="1829401" y="381572"/>
                </a:lnTo>
                <a:close/>
                <a:moveTo>
                  <a:pt x="1239606" y="265443"/>
                </a:moveTo>
                <a:lnTo>
                  <a:pt x="1253596" y="265443"/>
                </a:lnTo>
                <a:lnTo>
                  <a:pt x="1253596" y="381572"/>
                </a:lnTo>
                <a:lnTo>
                  <a:pt x="1240743" y="381572"/>
                </a:lnTo>
                <a:lnTo>
                  <a:pt x="1240058" y="372802"/>
                </a:lnTo>
                <a:cubicBezTo>
                  <a:pt x="1234468" y="379653"/>
                  <a:pt x="1226671" y="383079"/>
                  <a:pt x="1216696" y="383079"/>
                </a:cubicBezTo>
                <a:cubicBezTo>
                  <a:pt x="1206720" y="383079"/>
                  <a:pt x="1199499" y="379201"/>
                  <a:pt x="1193524" y="371432"/>
                </a:cubicBezTo>
                <a:cubicBezTo>
                  <a:pt x="1187550" y="363676"/>
                  <a:pt x="1184563" y="353536"/>
                  <a:pt x="1184563" y="341040"/>
                </a:cubicBezTo>
                <a:lnTo>
                  <a:pt x="1184563" y="339998"/>
                </a:lnTo>
                <a:cubicBezTo>
                  <a:pt x="1184563" y="327447"/>
                  <a:pt x="1187536" y="317348"/>
                  <a:pt x="1193483" y="309716"/>
                </a:cubicBezTo>
                <a:cubicBezTo>
                  <a:pt x="1199430" y="302084"/>
                  <a:pt x="1207213" y="298261"/>
                  <a:pt x="1216846" y="298261"/>
                </a:cubicBezTo>
                <a:cubicBezTo>
                  <a:pt x="1226479" y="298261"/>
                  <a:pt x="1234002" y="301536"/>
                  <a:pt x="1239606" y="308085"/>
                </a:cubicBezTo>
                <a:close/>
                <a:moveTo>
                  <a:pt x="895332" y="265443"/>
                </a:moveTo>
                <a:lnTo>
                  <a:pt x="909322" y="265443"/>
                </a:lnTo>
                <a:lnTo>
                  <a:pt x="909322" y="381572"/>
                </a:lnTo>
                <a:lnTo>
                  <a:pt x="895332" y="381572"/>
                </a:lnTo>
                <a:close/>
                <a:moveTo>
                  <a:pt x="324186" y="211373"/>
                </a:moveTo>
                <a:cubicBezTo>
                  <a:pt x="315197" y="211373"/>
                  <a:pt x="307894" y="218691"/>
                  <a:pt x="307894" y="227693"/>
                </a:cubicBezTo>
                <a:lnTo>
                  <a:pt x="309166" y="233992"/>
                </a:lnTo>
                <a:lnTo>
                  <a:pt x="312600" y="239092"/>
                </a:lnTo>
                <a:cubicBezTo>
                  <a:pt x="315550" y="242046"/>
                  <a:pt x="319623" y="243876"/>
                  <a:pt x="324117" y="243876"/>
                </a:cubicBezTo>
                <a:cubicBezTo>
                  <a:pt x="333106" y="243876"/>
                  <a:pt x="340409" y="236558"/>
                  <a:pt x="340409" y="227556"/>
                </a:cubicBezTo>
                <a:lnTo>
                  <a:pt x="339138" y="221257"/>
                </a:lnTo>
                <a:lnTo>
                  <a:pt x="335703" y="216157"/>
                </a:lnTo>
                <a:cubicBezTo>
                  <a:pt x="332754" y="213203"/>
                  <a:pt x="328681" y="211373"/>
                  <a:pt x="324186" y="211373"/>
                </a:cubicBezTo>
                <a:close/>
                <a:moveTo>
                  <a:pt x="324090" y="176295"/>
                </a:moveTo>
                <a:cubicBezTo>
                  <a:pt x="325878" y="176295"/>
                  <a:pt x="327502" y="177025"/>
                  <a:pt x="328678" y="178203"/>
                </a:cubicBezTo>
                <a:lnTo>
                  <a:pt x="328726" y="178318"/>
                </a:lnTo>
                <a:lnTo>
                  <a:pt x="328747" y="178327"/>
                </a:lnTo>
                <a:cubicBezTo>
                  <a:pt x="329924" y="179505"/>
                  <a:pt x="330654" y="181132"/>
                  <a:pt x="330654" y="182927"/>
                </a:cubicBezTo>
                <a:lnTo>
                  <a:pt x="330654" y="199906"/>
                </a:lnTo>
                <a:lnTo>
                  <a:pt x="339293" y="203576"/>
                </a:lnTo>
                <a:cubicBezTo>
                  <a:pt x="342006" y="205296"/>
                  <a:pt x="344470" y="207478"/>
                  <a:pt x="346514" y="210043"/>
                </a:cubicBezTo>
                <a:lnTo>
                  <a:pt x="346577" y="210161"/>
                </a:lnTo>
                <a:lnTo>
                  <a:pt x="346583" y="210166"/>
                </a:lnTo>
                <a:cubicBezTo>
                  <a:pt x="348626" y="212731"/>
                  <a:pt x="350248" y="215679"/>
                  <a:pt x="351276" y="218932"/>
                </a:cubicBezTo>
                <a:lnTo>
                  <a:pt x="352384" y="229387"/>
                </a:lnTo>
                <a:lnTo>
                  <a:pt x="372346" y="222375"/>
                </a:lnTo>
                <a:cubicBezTo>
                  <a:pt x="379098" y="220808"/>
                  <a:pt x="385915" y="220020"/>
                  <a:pt x="392753" y="220020"/>
                </a:cubicBezTo>
                <a:cubicBezTo>
                  <a:pt x="419164" y="220020"/>
                  <a:pt x="438523" y="229138"/>
                  <a:pt x="448431" y="245634"/>
                </a:cubicBezTo>
                <a:lnTo>
                  <a:pt x="448465" y="245732"/>
                </a:lnTo>
                <a:lnTo>
                  <a:pt x="448500" y="245769"/>
                </a:lnTo>
                <a:lnTo>
                  <a:pt x="455120" y="264525"/>
                </a:lnTo>
                <a:lnTo>
                  <a:pt x="455126" y="264525"/>
                </a:lnTo>
                <a:cubicBezTo>
                  <a:pt x="478537" y="266992"/>
                  <a:pt x="493192" y="278029"/>
                  <a:pt x="498380" y="296816"/>
                </a:cubicBezTo>
                <a:lnTo>
                  <a:pt x="498383" y="296853"/>
                </a:lnTo>
                <a:lnTo>
                  <a:pt x="498435" y="296953"/>
                </a:lnTo>
                <a:cubicBezTo>
                  <a:pt x="500164" y="303216"/>
                  <a:pt x="500842" y="310340"/>
                  <a:pt x="500441" y="318294"/>
                </a:cubicBezTo>
                <a:cubicBezTo>
                  <a:pt x="499221" y="342533"/>
                  <a:pt x="468569" y="381599"/>
                  <a:pt x="450413" y="402728"/>
                </a:cubicBezTo>
                <a:lnTo>
                  <a:pt x="450112" y="403085"/>
                </a:lnTo>
                <a:lnTo>
                  <a:pt x="432860" y="403085"/>
                </a:lnTo>
                <a:lnTo>
                  <a:pt x="432983" y="402948"/>
                </a:lnTo>
                <a:lnTo>
                  <a:pt x="432805" y="402948"/>
                </a:lnTo>
                <a:lnTo>
                  <a:pt x="434340" y="401235"/>
                </a:lnTo>
                <a:cubicBezTo>
                  <a:pt x="447247" y="386847"/>
                  <a:pt x="459922" y="370733"/>
                  <a:pt x="469103" y="357044"/>
                </a:cubicBezTo>
                <a:cubicBezTo>
                  <a:pt x="480654" y="339834"/>
                  <a:pt x="486985" y="326159"/>
                  <a:pt x="487423" y="317499"/>
                </a:cubicBezTo>
                <a:lnTo>
                  <a:pt x="485824" y="300130"/>
                </a:lnTo>
                <a:lnTo>
                  <a:pt x="479134" y="287847"/>
                </a:lnTo>
                <a:cubicBezTo>
                  <a:pt x="474201" y="282640"/>
                  <a:pt x="466527" y="279283"/>
                  <a:pt x="456346" y="277858"/>
                </a:cubicBezTo>
                <a:lnTo>
                  <a:pt x="456346" y="278337"/>
                </a:lnTo>
                <a:cubicBezTo>
                  <a:pt x="456401" y="280790"/>
                  <a:pt x="456456" y="283311"/>
                  <a:pt x="456209" y="286038"/>
                </a:cubicBezTo>
                <a:cubicBezTo>
                  <a:pt x="455127" y="298124"/>
                  <a:pt x="449221" y="314115"/>
                  <a:pt x="438656" y="333586"/>
                </a:cubicBezTo>
                <a:cubicBezTo>
                  <a:pt x="433518" y="343068"/>
                  <a:pt x="418692" y="368787"/>
                  <a:pt x="392383" y="402687"/>
                </a:cubicBezTo>
                <a:lnTo>
                  <a:pt x="392068" y="403085"/>
                </a:lnTo>
                <a:lnTo>
                  <a:pt x="375612" y="403085"/>
                </a:lnTo>
                <a:lnTo>
                  <a:pt x="375723" y="402948"/>
                </a:lnTo>
                <a:lnTo>
                  <a:pt x="375556" y="402948"/>
                </a:lnTo>
                <a:lnTo>
                  <a:pt x="376913" y="401276"/>
                </a:lnTo>
                <a:cubicBezTo>
                  <a:pt x="377543" y="400509"/>
                  <a:pt x="439245" y="324145"/>
                  <a:pt x="443150" y="284997"/>
                </a:cubicBezTo>
                <a:cubicBezTo>
                  <a:pt x="443226" y="284517"/>
                  <a:pt x="444103" y="279053"/>
                  <a:pt x="443387" y="271849"/>
                </a:cubicBezTo>
                <a:lnTo>
                  <a:pt x="440825" y="260170"/>
                </a:lnTo>
                <a:lnTo>
                  <a:pt x="434135" y="248398"/>
                </a:lnTo>
                <a:cubicBezTo>
                  <a:pt x="425584" y="238285"/>
                  <a:pt x="411690" y="233160"/>
                  <a:pt x="392849" y="233160"/>
                </a:cubicBezTo>
                <a:cubicBezTo>
                  <a:pt x="357428" y="233160"/>
                  <a:pt x="333394" y="257935"/>
                  <a:pt x="330681" y="260867"/>
                </a:cubicBezTo>
                <a:lnTo>
                  <a:pt x="330681" y="403098"/>
                </a:lnTo>
                <a:lnTo>
                  <a:pt x="317677" y="403098"/>
                </a:lnTo>
                <a:lnTo>
                  <a:pt x="317677" y="402961"/>
                </a:lnTo>
                <a:lnTo>
                  <a:pt x="317608" y="402961"/>
                </a:lnTo>
                <a:lnTo>
                  <a:pt x="317608" y="260796"/>
                </a:lnTo>
                <a:lnTo>
                  <a:pt x="315680" y="258834"/>
                </a:lnTo>
                <a:cubicBezTo>
                  <a:pt x="308778" y="252128"/>
                  <a:pt x="286503" y="233160"/>
                  <a:pt x="255509" y="233160"/>
                </a:cubicBezTo>
                <a:cubicBezTo>
                  <a:pt x="236655" y="233160"/>
                  <a:pt x="222760" y="238299"/>
                  <a:pt x="214210" y="248411"/>
                </a:cubicBezTo>
                <a:cubicBezTo>
                  <a:pt x="201618" y="263306"/>
                  <a:pt x="204975" y="284175"/>
                  <a:pt x="205125" y="285052"/>
                </a:cubicBezTo>
                <a:cubicBezTo>
                  <a:pt x="205615" y="289957"/>
                  <a:pt x="207008" y="295442"/>
                  <a:pt x="209072" y="301287"/>
                </a:cubicBezTo>
                <a:lnTo>
                  <a:pt x="216998" y="319576"/>
                </a:lnTo>
                <a:lnTo>
                  <a:pt x="227582" y="338776"/>
                </a:lnTo>
                <a:cubicBezTo>
                  <a:pt x="246670" y="370792"/>
                  <a:pt x="270922" y="400796"/>
                  <a:pt x="271308" y="401276"/>
                </a:cubicBezTo>
                <a:lnTo>
                  <a:pt x="272664" y="402948"/>
                </a:lnTo>
                <a:lnTo>
                  <a:pt x="272622" y="402948"/>
                </a:lnTo>
                <a:lnTo>
                  <a:pt x="272733" y="403085"/>
                </a:lnTo>
                <a:lnTo>
                  <a:pt x="256277" y="403085"/>
                </a:lnTo>
                <a:lnTo>
                  <a:pt x="255962" y="402687"/>
                </a:lnTo>
                <a:cubicBezTo>
                  <a:pt x="229639" y="368787"/>
                  <a:pt x="214827" y="343068"/>
                  <a:pt x="209675" y="333586"/>
                </a:cubicBezTo>
                <a:lnTo>
                  <a:pt x="209639" y="333508"/>
                </a:lnTo>
                <a:lnTo>
                  <a:pt x="209606" y="333449"/>
                </a:lnTo>
                <a:cubicBezTo>
                  <a:pt x="199041" y="313977"/>
                  <a:pt x="193135" y="297973"/>
                  <a:pt x="192066" y="285901"/>
                </a:cubicBezTo>
                <a:cubicBezTo>
                  <a:pt x="191820" y="283174"/>
                  <a:pt x="191874" y="280653"/>
                  <a:pt x="191929" y="278214"/>
                </a:cubicBezTo>
                <a:lnTo>
                  <a:pt x="191929" y="277876"/>
                </a:lnTo>
                <a:lnTo>
                  <a:pt x="178625" y="281434"/>
                </a:lnTo>
                <a:cubicBezTo>
                  <a:pt x="174815" y="283102"/>
                  <a:pt x="171664" y="285243"/>
                  <a:pt x="169197" y="287847"/>
                </a:cubicBezTo>
                <a:cubicBezTo>
                  <a:pt x="163004" y="294369"/>
                  <a:pt x="160209" y="304400"/>
                  <a:pt x="160866" y="317636"/>
                </a:cubicBezTo>
                <a:cubicBezTo>
                  <a:pt x="160973" y="319801"/>
                  <a:pt x="161448" y="322280"/>
                  <a:pt x="162282" y="325048"/>
                </a:cubicBezTo>
                <a:lnTo>
                  <a:pt x="165839" y="334181"/>
                </a:lnTo>
                <a:lnTo>
                  <a:pt x="171430" y="344823"/>
                </a:lnTo>
                <a:cubicBezTo>
                  <a:pt x="173655" y="348660"/>
                  <a:pt x="176216" y="352742"/>
                  <a:pt x="179104" y="357044"/>
                </a:cubicBezTo>
                <a:cubicBezTo>
                  <a:pt x="188298" y="370733"/>
                  <a:pt x="200959" y="386847"/>
                  <a:pt x="213867" y="401235"/>
                </a:cubicBezTo>
                <a:lnTo>
                  <a:pt x="215402" y="402948"/>
                </a:lnTo>
                <a:lnTo>
                  <a:pt x="215348" y="402948"/>
                </a:lnTo>
                <a:lnTo>
                  <a:pt x="215471" y="403085"/>
                </a:lnTo>
                <a:lnTo>
                  <a:pt x="198219" y="403085"/>
                </a:lnTo>
                <a:lnTo>
                  <a:pt x="197918" y="402728"/>
                </a:lnTo>
                <a:cubicBezTo>
                  <a:pt x="184291" y="386881"/>
                  <a:pt x="163650" y="360945"/>
                  <a:pt x="153666" y="338741"/>
                </a:cubicBezTo>
                <a:lnTo>
                  <a:pt x="153656" y="338706"/>
                </a:lnTo>
                <a:lnTo>
                  <a:pt x="153599" y="338605"/>
                </a:lnTo>
                <a:cubicBezTo>
                  <a:pt x="150270" y="331203"/>
                  <a:pt x="148126" y="324217"/>
                  <a:pt x="147821" y="318157"/>
                </a:cubicBezTo>
                <a:cubicBezTo>
                  <a:pt x="146218" y="286340"/>
                  <a:pt x="161866" y="267814"/>
                  <a:pt x="193080" y="264525"/>
                </a:cubicBezTo>
                <a:cubicBezTo>
                  <a:pt x="197534" y="236230"/>
                  <a:pt x="220211" y="220020"/>
                  <a:pt x="255427" y="220020"/>
                </a:cubicBezTo>
                <a:cubicBezTo>
                  <a:pt x="269102" y="220020"/>
                  <a:pt x="282694" y="223171"/>
                  <a:pt x="295849" y="229406"/>
                </a:cubicBezTo>
                <a:cubicBezTo>
                  <a:pt x="294506" y="214251"/>
                  <a:pt x="305454" y="202755"/>
                  <a:pt x="317595" y="199877"/>
                </a:cubicBezTo>
                <a:lnTo>
                  <a:pt x="317595" y="182804"/>
                </a:lnTo>
                <a:cubicBezTo>
                  <a:pt x="317595" y="179214"/>
                  <a:pt x="320513" y="176295"/>
                  <a:pt x="324090" y="176295"/>
                </a:cubicBezTo>
                <a:close/>
                <a:moveTo>
                  <a:pt x="340519" y="159811"/>
                </a:moveTo>
                <a:lnTo>
                  <a:pt x="362457" y="159811"/>
                </a:lnTo>
                <a:cubicBezTo>
                  <a:pt x="364251" y="159811"/>
                  <a:pt x="365879" y="160541"/>
                  <a:pt x="367057" y="161719"/>
                </a:cubicBezTo>
                <a:lnTo>
                  <a:pt x="367111" y="161850"/>
                </a:lnTo>
                <a:lnTo>
                  <a:pt x="367126" y="161856"/>
                </a:lnTo>
                <a:cubicBezTo>
                  <a:pt x="368304" y="163035"/>
                  <a:pt x="369034" y="164662"/>
                  <a:pt x="369034" y="166457"/>
                </a:cubicBezTo>
                <a:cubicBezTo>
                  <a:pt x="369034" y="170047"/>
                  <a:pt x="366116" y="172965"/>
                  <a:pt x="362525" y="172965"/>
                </a:cubicBezTo>
                <a:lnTo>
                  <a:pt x="340588" y="172965"/>
                </a:lnTo>
                <a:cubicBezTo>
                  <a:pt x="338793" y="172965"/>
                  <a:pt x="337166" y="172236"/>
                  <a:pt x="335987" y="171057"/>
                </a:cubicBezTo>
                <a:lnTo>
                  <a:pt x="335933" y="170926"/>
                </a:lnTo>
                <a:lnTo>
                  <a:pt x="335918" y="170920"/>
                </a:lnTo>
                <a:cubicBezTo>
                  <a:pt x="334740" y="169742"/>
                  <a:pt x="334010" y="168115"/>
                  <a:pt x="334010" y="166320"/>
                </a:cubicBezTo>
                <a:cubicBezTo>
                  <a:pt x="334010" y="162730"/>
                  <a:pt x="336929" y="159811"/>
                  <a:pt x="340519" y="159811"/>
                </a:cubicBezTo>
                <a:close/>
                <a:moveTo>
                  <a:pt x="285737" y="159811"/>
                </a:moveTo>
                <a:lnTo>
                  <a:pt x="307674" y="159811"/>
                </a:lnTo>
                <a:cubicBezTo>
                  <a:pt x="309469" y="159811"/>
                  <a:pt x="311096" y="160541"/>
                  <a:pt x="312275" y="161719"/>
                </a:cubicBezTo>
                <a:lnTo>
                  <a:pt x="312329" y="161850"/>
                </a:lnTo>
                <a:lnTo>
                  <a:pt x="312344" y="161856"/>
                </a:lnTo>
                <a:cubicBezTo>
                  <a:pt x="313522" y="163035"/>
                  <a:pt x="314252" y="164662"/>
                  <a:pt x="314252" y="166457"/>
                </a:cubicBezTo>
                <a:cubicBezTo>
                  <a:pt x="314252" y="170047"/>
                  <a:pt x="311333" y="172965"/>
                  <a:pt x="307743" y="172965"/>
                </a:cubicBezTo>
                <a:lnTo>
                  <a:pt x="285805" y="172965"/>
                </a:lnTo>
                <a:cubicBezTo>
                  <a:pt x="284010" y="172965"/>
                  <a:pt x="282383" y="172236"/>
                  <a:pt x="281205" y="171057"/>
                </a:cubicBezTo>
                <a:lnTo>
                  <a:pt x="281150" y="170926"/>
                </a:lnTo>
                <a:lnTo>
                  <a:pt x="281136" y="170920"/>
                </a:lnTo>
                <a:cubicBezTo>
                  <a:pt x="279957" y="169742"/>
                  <a:pt x="279228" y="168115"/>
                  <a:pt x="279228" y="166320"/>
                </a:cubicBezTo>
                <a:cubicBezTo>
                  <a:pt x="279228" y="162730"/>
                  <a:pt x="282146" y="159811"/>
                  <a:pt x="285737" y="159811"/>
                </a:cubicBezTo>
                <a:close/>
                <a:moveTo>
                  <a:pt x="324090" y="121403"/>
                </a:moveTo>
                <a:cubicBezTo>
                  <a:pt x="325885" y="121403"/>
                  <a:pt x="327512" y="122133"/>
                  <a:pt x="328690" y="123311"/>
                </a:cubicBezTo>
                <a:lnTo>
                  <a:pt x="328744" y="123442"/>
                </a:lnTo>
                <a:lnTo>
                  <a:pt x="328759" y="123448"/>
                </a:lnTo>
                <a:cubicBezTo>
                  <a:pt x="329937" y="124627"/>
                  <a:pt x="330667" y="126254"/>
                  <a:pt x="330667" y="128049"/>
                </a:cubicBezTo>
                <a:lnTo>
                  <a:pt x="330667" y="149959"/>
                </a:lnTo>
                <a:cubicBezTo>
                  <a:pt x="330667" y="153549"/>
                  <a:pt x="327748" y="156468"/>
                  <a:pt x="324159" y="156468"/>
                </a:cubicBezTo>
                <a:cubicBezTo>
                  <a:pt x="322364" y="156468"/>
                  <a:pt x="320736" y="155738"/>
                  <a:pt x="319558" y="154560"/>
                </a:cubicBezTo>
                <a:lnTo>
                  <a:pt x="319504" y="154429"/>
                </a:lnTo>
                <a:lnTo>
                  <a:pt x="319489" y="154423"/>
                </a:lnTo>
                <a:cubicBezTo>
                  <a:pt x="318311" y="153244"/>
                  <a:pt x="317581" y="151617"/>
                  <a:pt x="317581" y="149822"/>
                </a:cubicBezTo>
                <a:lnTo>
                  <a:pt x="317581" y="127912"/>
                </a:lnTo>
                <a:cubicBezTo>
                  <a:pt x="317581" y="124322"/>
                  <a:pt x="320500" y="121403"/>
                  <a:pt x="324090" y="121403"/>
                </a:cubicBezTo>
                <a:close/>
                <a:moveTo>
                  <a:pt x="324090" y="16442"/>
                </a:moveTo>
                <a:cubicBezTo>
                  <a:pt x="241916" y="16442"/>
                  <a:pt x="164662" y="48437"/>
                  <a:pt x="106549" y="106550"/>
                </a:cubicBezTo>
                <a:cubicBezTo>
                  <a:pt x="48437" y="164662"/>
                  <a:pt x="16442" y="241916"/>
                  <a:pt x="16442" y="324104"/>
                </a:cubicBezTo>
                <a:cubicBezTo>
                  <a:pt x="16442" y="406291"/>
                  <a:pt x="48437" y="483532"/>
                  <a:pt x="106549" y="541644"/>
                </a:cubicBezTo>
                <a:cubicBezTo>
                  <a:pt x="164662" y="599742"/>
                  <a:pt x="241916" y="631751"/>
                  <a:pt x="324090" y="631751"/>
                </a:cubicBezTo>
                <a:cubicBezTo>
                  <a:pt x="406263" y="631751"/>
                  <a:pt x="483518" y="599756"/>
                  <a:pt x="541630" y="541644"/>
                </a:cubicBezTo>
                <a:cubicBezTo>
                  <a:pt x="599742" y="483532"/>
                  <a:pt x="631738" y="406277"/>
                  <a:pt x="631738" y="324104"/>
                </a:cubicBezTo>
                <a:cubicBezTo>
                  <a:pt x="631738" y="241930"/>
                  <a:pt x="599742" y="164662"/>
                  <a:pt x="541630" y="106563"/>
                </a:cubicBezTo>
                <a:cubicBezTo>
                  <a:pt x="483518" y="48465"/>
                  <a:pt x="406263" y="16442"/>
                  <a:pt x="324090" y="16442"/>
                </a:cubicBezTo>
                <a:close/>
                <a:moveTo>
                  <a:pt x="324080" y="0"/>
                </a:moveTo>
                <a:lnTo>
                  <a:pt x="324100" y="0"/>
                </a:lnTo>
                <a:lnTo>
                  <a:pt x="387811" y="6223"/>
                </a:lnTo>
                <a:cubicBezTo>
                  <a:pt x="450091" y="18573"/>
                  <a:pt x="507343" y="49013"/>
                  <a:pt x="553250" y="94930"/>
                </a:cubicBezTo>
                <a:cubicBezTo>
                  <a:pt x="614459" y="156153"/>
                  <a:pt x="648181" y="237531"/>
                  <a:pt x="648181" y="324104"/>
                </a:cubicBezTo>
                <a:cubicBezTo>
                  <a:pt x="648181" y="410676"/>
                  <a:pt x="614472" y="492055"/>
                  <a:pt x="553250" y="553277"/>
                </a:cubicBezTo>
                <a:cubicBezTo>
                  <a:pt x="492041" y="614486"/>
                  <a:pt x="410648" y="648194"/>
                  <a:pt x="324090" y="648194"/>
                </a:cubicBezTo>
                <a:lnTo>
                  <a:pt x="324090" y="648180"/>
                </a:lnTo>
                <a:cubicBezTo>
                  <a:pt x="237517" y="648180"/>
                  <a:pt x="156139" y="614472"/>
                  <a:pt x="94916" y="553264"/>
                </a:cubicBezTo>
                <a:cubicBezTo>
                  <a:pt x="64312" y="522659"/>
                  <a:pt x="40582" y="487009"/>
                  <a:pt x="24504" y="448190"/>
                </a:cubicBezTo>
                <a:lnTo>
                  <a:pt x="0" y="324109"/>
                </a:lnTo>
                <a:lnTo>
                  <a:pt x="0" y="324099"/>
                </a:lnTo>
                <a:lnTo>
                  <a:pt x="24506" y="200011"/>
                </a:lnTo>
                <a:cubicBezTo>
                  <a:pt x="40586" y="161188"/>
                  <a:pt x="64319" y="125534"/>
                  <a:pt x="94930" y="94930"/>
                </a:cubicBezTo>
                <a:cubicBezTo>
                  <a:pt x="140837" y="49023"/>
                  <a:pt x="198089" y="18578"/>
                  <a:pt x="260368" y="6225"/>
                </a:cubicBezTo>
                <a:close/>
              </a:path>
            </a:pathLst>
          </a:custGeom>
          <a:solidFill>
            <a:schemeClr val="bg1"/>
          </a:solidFill>
        </p:spPr>
        <p:txBody>
          <a:bodyPr wrap="square">
            <a:noAutofit/>
          </a:bodyPr>
          <a:lstStyle>
            <a:lvl1pPr marL="0" indent="0">
              <a:buFontTx/>
              <a:buNone/>
              <a:defRPr sz="600">
                <a:noFill/>
              </a:defRPr>
            </a:lvl1pPr>
          </a:lstStyle>
          <a:p>
            <a:pPr lvl="0"/>
            <a:r>
              <a:rPr lang="da-DK" dirty="0"/>
              <a:t>Set text to 'No Fill'</a:t>
            </a:r>
          </a:p>
        </p:txBody>
      </p:sp>
    </p:spTree>
    <p:extLst>
      <p:ext uri="{BB962C8B-B14F-4D97-AF65-F5344CB8AC3E}">
        <p14:creationId xmlns:p14="http://schemas.microsoft.com/office/powerpoint/2010/main" val="345023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rside_uden bille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D9C2CD-1B72-B5C1-0BD1-1A7F7EAA073C}"/>
              </a:ext>
            </a:extLst>
          </p:cNvPr>
          <p:cNvSpPr>
            <a:spLocks noGrp="1"/>
          </p:cNvSpPr>
          <p:nvPr>
            <p:ph type="ctrTitle" hasCustomPrompt="1"/>
          </p:nvPr>
        </p:nvSpPr>
        <p:spPr>
          <a:xfrm>
            <a:off x="934138" y="2067694"/>
            <a:ext cx="7087103" cy="1205443"/>
          </a:xfrm>
          <a:prstGeom prst="rect">
            <a:avLst/>
          </a:prstGeom>
          <a:effectLst/>
        </p:spPr>
        <p:txBody>
          <a:bodyPr vert="horz" wrap="square" lIns="0" tIns="45720" rIns="0" bIns="45720" anchor="t" anchorCtr="0">
            <a:noAutofit/>
          </a:bodyPr>
          <a:lstStyle>
            <a:lvl1pPr algn="l">
              <a:defRPr sz="3450" b="0" i="0" u="none" strike="noStrike">
                <a:solidFill>
                  <a:schemeClr val="bg1">
                    <a:lumMod val="100000"/>
                  </a:schemeClr>
                </a:solidFill>
                <a:latin typeface="+mj-lt"/>
                <a:cs typeface="Arial" panose="020B0604020202020204" pitchFamily="34" charset="0"/>
              </a:defRPr>
            </a:lvl1pPr>
          </a:lstStyle>
          <a:p>
            <a:r>
              <a:rPr lang="da-DK" dirty="0"/>
              <a:t>Her kan du skrive </a:t>
            </a:r>
            <a:br>
              <a:rPr lang="da-DK" dirty="0"/>
            </a:br>
            <a:r>
              <a:rPr lang="da-DK" dirty="0"/>
              <a:t>din titel i to linjer</a:t>
            </a:r>
          </a:p>
        </p:txBody>
      </p:sp>
      <p:sp>
        <p:nvSpPr>
          <p:cNvPr id="4" name="Undertitel 2">
            <a:extLst>
              <a:ext uri="{FF2B5EF4-FFF2-40B4-BE49-F238E27FC236}">
                <a16:creationId xmlns:a16="http://schemas.microsoft.com/office/drawing/2014/main" id="{2F73F4F8-07D6-A27C-C0A0-3163956E1939}"/>
              </a:ext>
            </a:extLst>
          </p:cNvPr>
          <p:cNvSpPr>
            <a:spLocks noGrp="1"/>
          </p:cNvSpPr>
          <p:nvPr>
            <p:ph type="subTitle" idx="1" hasCustomPrompt="1"/>
          </p:nvPr>
        </p:nvSpPr>
        <p:spPr>
          <a:xfrm>
            <a:off x="934139" y="3357159"/>
            <a:ext cx="5855996" cy="360040"/>
          </a:xfrm>
          <a:noFill/>
          <a:effectLst/>
        </p:spPr>
        <p:txBody>
          <a:bodyPr vert="horz" wrap="square" lIns="0" rIns="0" anchor="t">
            <a:noAutofit/>
          </a:bodyPr>
          <a:lstStyle>
            <a:lvl1pPr marL="0" indent="0" algn="l">
              <a:buNone/>
              <a:defRPr sz="1650" b="0" i="0" u="none" strike="noStrike">
                <a:solidFill>
                  <a:schemeClr val="bg1">
                    <a:lumMod val="100000"/>
                  </a:schemeClr>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da-DK" noProof="0" dirty="0"/>
              <a:t>Klik her for at tilføje en underoverskrift</a:t>
            </a:r>
          </a:p>
        </p:txBody>
      </p:sp>
      <p:sp>
        <p:nvSpPr>
          <p:cNvPr id="5" name="Date Placeholder 7">
            <a:extLst>
              <a:ext uri="{FF2B5EF4-FFF2-40B4-BE49-F238E27FC236}">
                <a16:creationId xmlns:a16="http://schemas.microsoft.com/office/drawing/2014/main" id="{F03D5DCD-7CAF-6043-ECED-A39BD37FF806}"/>
              </a:ext>
            </a:extLst>
          </p:cNvPr>
          <p:cNvSpPr>
            <a:spLocks noGrp="1"/>
          </p:cNvSpPr>
          <p:nvPr>
            <p:ph type="dt" sz="half" idx="16"/>
          </p:nvPr>
        </p:nvSpPr>
        <p:spPr>
          <a:xfrm>
            <a:off x="0" y="5143500"/>
            <a:ext cx="0" cy="0"/>
          </a:xfrm>
          <a:prstGeom prst="rect">
            <a:avLst/>
          </a:prstGeom>
        </p:spPr>
        <p:txBody>
          <a:bodyPr vert="horz" lIns="0" tIns="0" rIns="0" bIns="0" rtlCol="0" anchor="b" anchorCtr="0"/>
          <a:lstStyle>
            <a:defPPr>
              <a:defRPr lang="da-DK"/>
            </a:defPPr>
            <a:lvl1pPr marL="0" algn="r" defTabSz="685800" rtl="0" eaLnBrk="1" latinLnBrk="0" hangingPunct="1">
              <a:defRPr lang="da-DK" sz="600" kern="1200" smtClean="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EDB8AA7F-7608-45F4-8325-373748551AF0}" type="datetime2">
              <a:rPr lang="da-DK" smtClean="0"/>
              <a:t>17. september 2025</a:t>
            </a:fld>
            <a:endParaRPr lang="da-DK" dirty="0"/>
          </a:p>
        </p:txBody>
      </p:sp>
      <p:sp>
        <p:nvSpPr>
          <p:cNvPr id="6" name="Footer Placeholder 8">
            <a:extLst>
              <a:ext uri="{FF2B5EF4-FFF2-40B4-BE49-F238E27FC236}">
                <a16:creationId xmlns:a16="http://schemas.microsoft.com/office/drawing/2014/main" id="{8ABEB310-F782-649D-37DB-312E1FB79AB3}"/>
              </a:ext>
            </a:extLst>
          </p:cNvPr>
          <p:cNvSpPr>
            <a:spLocks noGrp="1"/>
          </p:cNvSpPr>
          <p:nvPr>
            <p:ph type="ftr" sz="quarter" idx="17"/>
          </p:nvPr>
        </p:nvSpPr>
        <p:spPr>
          <a:xfrm>
            <a:off x="0" y="5143500"/>
            <a:ext cx="0" cy="0"/>
          </a:xfrm>
          <a:prstGeom prst="rect">
            <a:avLst/>
          </a:prstGeom>
        </p:spPr>
        <p:txBody>
          <a:bodyPr vert="horz" lIns="0" tIns="0" rIns="0" bIns="0" rtlCol="0" anchor="b" anchorCtr="0"/>
          <a:lstStyle>
            <a:defPPr>
              <a:defRPr lang="da-DK"/>
            </a:defPPr>
            <a:lvl1pPr marL="0" algn="l" defTabSz="685800" rtl="0" eaLnBrk="1" latinLnBrk="0" hangingPunct="1">
              <a:defRPr lang="da-DK"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7" name="Slide Number Placeholder 9">
            <a:extLst>
              <a:ext uri="{FF2B5EF4-FFF2-40B4-BE49-F238E27FC236}">
                <a16:creationId xmlns:a16="http://schemas.microsoft.com/office/drawing/2014/main" id="{B512BD75-C256-8629-0AF1-2A91A053E4E9}"/>
              </a:ext>
            </a:extLst>
          </p:cNvPr>
          <p:cNvSpPr>
            <a:spLocks noGrp="1"/>
          </p:cNvSpPr>
          <p:nvPr>
            <p:ph type="sldNum" sz="quarter" idx="18"/>
          </p:nvPr>
        </p:nvSpPr>
        <p:spPr>
          <a:xfrm>
            <a:off x="0" y="5143500"/>
            <a:ext cx="0" cy="0"/>
          </a:xfrm>
          <a:prstGeom prst="rect">
            <a:avLst/>
          </a:prstGeom>
        </p:spPr>
        <p:txBody>
          <a:bodyPr vert="horz" lIns="0" tIns="0" rIns="0" bIns="0" rtlCol="0" anchor="b" anchorCtr="0"/>
          <a:lstStyle>
            <a:defPPr>
              <a:defRPr lang="da-DK"/>
            </a:defPPr>
            <a:lvl1pPr marL="0" algn="r" defTabSz="685800" rtl="0" eaLnBrk="1" latinLnBrk="0" hangingPunct="1">
              <a:defRPr sz="600" kern="1200">
                <a:no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8" name="Freeform: Shape 7">
            <a:extLst>
              <a:ext uri="{FF2B5EF4-FFF2-40B4-BE49-F238E27FC236}">
                <a16:creationId xmlns:a16="http://schemas.microsoft.com/office/drawing/2014/main" id="{E804ECA5-C803-3714-2B8A-3F79E2C0BA70}"/>
              </a:ext>
            </a:extLst>
          </p:cNvPr>
          <p:cNvSpPr/>
          <p:nvPr userDrawn="1"/>
        </p:nvSpPr>
        <p:spPr>
          <a:xfrm>
            <a:off x="934641" y="778409"/>
            <a:ext cx="1141177" cy="1141201"/>
          </a:xfrm>
          <a:custGeom>
            <a:avLst/>
            <a:gdLst>
              <a:gd name="connsiteX0" fmla="*/ 908875 w 2920154"/>
              <a:gd name="connsiteY0" fmla="*/ 2064244 h 2920216"/>
              <a:gd name="connsiteX1" fmla="*/ 2053750 w 2920154"/>
              <a:gd name="connsiteY1" fmla="*/ 2064244 h 2920216"/>
              <a:gd name="connsiteX2" fmla="*/ 2053750 w 2920154"/>
              <a:gd name="connsiteY2" fmla="*/ 2078196 h 2920216"/>
              <a:gd name="connsiteX3" fmla="*/ 2053750 w 2920154"/>
              <a:gd name="connsiteY3" fmla="*/ 2122889 h 2920216"/>
              <a:gd name="connsiteX4" fmla="*/ 2053750 w 2920154"/>
              <a:gd name="connsiteY4" fmla="*/ 2136841 h 2920216"/>
              <a:gd name="connsiteX5" fmla="*/ 908875 w 2920154"/>
              <a:gd name="connsiteY5" fmla="*/ 2136841 h 2920216"/>
              <a:gd name="connsiteX6" fmla="*/ 908875 w 2920154"/>
              <a:gd name="connsiteY6" fmla="*/ 2136223 h 2920216"/>
              <a:gd name="connsiteX7" fmla="*/ 887639 w 2920154"/>
              <a:gd name="connsiteY7" fmla="*/ 2136223 h 2920216"/>
              <a:gd name="connsiteX8" fmla="*/ 887639 w 2920154"/>
              <a:gd name="connsiteY8" fmla="*/ 2077578 h 2920216"/>
              <a:gd name="connsiteX9" fmla="*/ 908875 w 2920154"/>
              <a:gd name="connsiteY9" fmla="*/ 2077578 h 2920216"/>
              <a:gd name="connsiteX10" fmla="*/ 908875 w 2920154"/>
              <a:gd name="connsiteY10" fmla="*/ 1965535 h 2920216"/>
              <a:gd name="connsiteX11" fmla="*/ 2053750 w 2920154"/>
              <a:gd name="connsiteY11" fmla="*/ 1965535 h 2920216"/>
              <a:gd name="connsiteX12" fmla="*/ 2053750 w 2920154"/>
              <a:gd name="connsiteY12" fmla="*/ 1979487 h 2920216"/>
              <a:gd name="connsiteX13" fmla="*/ 2053750 w 2920154"/>
              <a:gd name="connsiteY13" fmla="*/ 2024180 h 2920216"/>
              <a:gd name="connsiteX14" fmla="*/ 2053750 w 2920154"/>
              <a:gd name="connsiteY14" fmla="*/ 2038132 h 2920216"/>
              <a:gd name="connsiteX15" fmla="*/ 908875 w 2920154"/>
              <a:gd name="connsiteY15" fmla="*/ 2038132 h 2920216"/>
              <a:gd name="connsiteX16" fmla="*/ 908875 w 2920154"/>
              <a:gd name="connsiteY16" fmla="*/ 2037514 h 2920216"/>
              <a:gd name="connsiteX17" fmla="*/ 887639 w 2920154"/>
              <a:gd name="connsiteY17" fmla="*/ 2037514 h 2920216"/>
              <a:gd name="connsiteX18" fmla="*/ 887639 w 2920154"/>
              <a:gd name="connsiteY18" fmla="*/ 1978869 h 2920216"/>
              <a:gd name="connsiteX19" fmla="*/ 908875 w 2920154"/>
              <a:gd name="connsiteY19" fmla="*/ 1978869 h 2920216"/>
              <a:gd name="connsiteX20" fmla="*/ 908875 w 2920154"/>
              <a:gd name="connsiteY20" fmla="*/ 1866826 h 2920216"/>
              <a:gd name="connsiteX21" fmla="*/ 2053750 w 2920154"/>
              <a:gd name="connsiteY21" fmla="*/ 1866826 h 2920216"/>
              <a:gd name="connsiteX22" fmla="*/ 2053750 w 2920154"/>
              <a:gd name="connsiteY22" fmla="*/ 1880778 h 2920216"/>
              <a:gd name="connsiteX23" fmla="*/ 2053750 w 2920154"/>
              <a:gd name="connsiteY23" fmla="*/ 1925471 h 2920216"/>
              <a:gd name="connsiteX24" fmla="*/ 2053750 w 2920154"/>
              <a:gd name="connsiteY24" fmla="*/ 1939423 h 2920216"/>
              <a:gd name="connsiteX25" fmla="*/ 908875 w 2920154"/>
              <a:gd name="connsiteY25" fmla="*/ 1939423 h 2920216"/>
              <a:gd name="connsiteX26" fmla="*/ 908875 w 2920154"/>
              <a:gd name="connsiteY26" fmla="*/ 1938805 h 2920216"/>
              <a:gd name="connsiteX27" fmla="*/ 887639 w 2920154"/>
              <a:gd name="connsiteY27" fmla="*/ 1938805 h 2920216"/>
              <a:gd name="connsiteX28" fmla="*/ 887639 w 2920154"/>
              <a:gd name="connsiteY28" fmla="*/ 1880160 h 2920216"/>
              <a:gd name="connsiteX29" fmla="*/ 908875 w 2920154"/>
              <a:gd name="connsiteY29" fmla="*/ 1880160 h 2920216"/>
              <a:gd name="connsiteX30" fmla="*/ 1474198 w 2920154"/>
              <a:gd name="connsiteY30" fmla="*/ 954491 h 2920216"/>
              <a:gd name="connsiteX31" fmla="*/ 1440416 w 2920154"/>
              <a:gd name="connsiteY31" fmla="*/ 964842 h 2920216"/>
              <a:gd name="connsiteX32" fmla="*/ 1413811 w 2920154"/>
              <a:gd name="connsiteY32" fmla="*/ 997197 h 2920216"/>
              <a:gd name="connsiteX33" fmla="*/ 1409446 w 2920154"/>
              <a:gd name="connsiteY33" fmla="*/ 1018819 h 2920216"/>
              <a:gd name="connsiteX34" fmla="*/ 1413811 w 2920154"/>
              <a:gd name="connsiteY34" fmla="*/ 1040441 h 2920216"/>
              <a:gd name="connsiteX35" fmla="*/ 1481436 w 2920154"/>
              <a:gd name="connsiteY35" fmla="*/ 1085365 h 2920216"/>
              <a:gd name="connsiteX36" fmla="*/ 1513081 w 2920154"/>
              <a:gd name="connsiteY36" fmla="*/ 1075668 h 2920216"/>
              <a:gd name="connsiteX37" fmla="*/ 1527824 w 2920154"/>
              <a:gd name="connsiteY37" fmla="*/ 1053775 h 2920216"/>
              <a:gd name="connsiteX38" fmla="*/ 1533598 w 2920154"/>
              <a:gd name="connsiteY38" fmla="*/ 1025177 h 2920216"/>
              <a:gd name="connsiteX39" fmla="*/ 1488753 w 2920154"/>
              <a:gd name="connsiteY39" fmla="*/ 957439 h 2920216"/>
              <a:gd name="connsiteX40" fmla="*/ 1481312 w 2920154"/>
              <a:gd name="connsiteY40" fmla="*/ 780843 h 2920216"/>
              <a:gd name="connsiteX41" fmla="*/ 1510573 w 2920154"/>
              <a:gd name="connsiteY41" fmla="*/ 810166 h 2920216"/>
              <a:gd name="connsiteX42" fmla="*/ 1510573 w 2920154"/>
              <a:gd name="connsiteY42" fmla="*/ 824118 h 2920216"/>
              <a:gd name="connsiteX43" fmla="*/ 1510573 w 2920154"/>
              <a:gd name="connsiteY43" fmla="*/ 887083 h 2920216"/>
              <a:gd name="connsiteX44" fmla="*/ 1608541 w 2920154"/>
              <a:gd name="connsiteY44" fmla="*/ 1020115 h 2920216"/>
              <a:gd name="connsiteX45" fmla="*/ 1790649 w 2920154"/>
              <a:gd name="connsiteY45" fmla="*/ 977829 h 2920216"/>
              <a:gd name="connsiteX46" fmla="*/ 2071528 w 2920154"/>
              <a:gd name="connsiteY46" fmla="*/ 1178395 h 2920216"/>
              <a:gd name="connsiteX47" fmla="*/ 2071590 w 2920154"/>
              <a:gd name="connsiteY47" fmla="*/ 1178395 h 2920216"/>
              <a:gd name="connsiteX48" fmla="*/ 2275490 w 2920154"/>
              <a:gd name="connsiteY48" fmla="*/ 1420012 h 2920216"/>
              <a:gd name="connsiteX49" fmla="*/ 2274628 w 2920154"/>
              <a:gd name="connsiteY49" fmla="*/ 1424789 h 2920216"/>
              <a:gd name="connsiteX50" fmla="*/ 2275490 w 2920154"/>
              <a:gd name="connsiteY50" fmla="*/ 1433965 h 2920216"/>
              <a:gd name="connsiteX51" fmla="*/ 2050108 w 2920154"/>
              <a:gd name="connsiteY51" fmla="*/ 1814355 h 2920216"/>
              <a:gd name="connsiteX52" fmla="*/ 2048749 w 2920154"/>
              <a:gd name="connsiteY52" fmla="*/ 1815960 h 2920216"/>
              <a:gd name="connsiteX53" fmla="*/ 1971029 w 2920154"/>
              <a:gd name="connsiteY53" fmla="*/ 1815960 h 2920216"/>
              <a:gd name="connsiteX54" fmla="*/ 1971583 w 2920154"/>
              <a:gd name="connsiteY54" fmla="*/ 1815342 h 2920216"/>
              <a:gd name="connsiteX55" fmla="*/ 1949855 w 2920154"/>
              <a:gd name="connsiteY55" fmla="*/ 1815342 h 2920216"/>
              <a:gd name="connsiteX56" fmla="*/ 1956769 w 2920154"/>
              <a:gd name="connsiteY56" fmla="*/ 1807626 h 2920216"/>
              <a:gd name="connsiteX57" fmla="*/ 2113382 w 2920154"/>
              <a:gd name="connsiteY57" fmla="*/ 1608541 h 2920216"/>
              <a:gd name="connsiteX58" fmla="*/ 2195917 w 2920154"/>
              <a:gd name="connsiteY58" fmla="*/ 1430384 h 2920216"/>
              <a:gd name="connsiteX59" fmla="*/ 2158323 w 2920154"/>
              <a:gd name="connsiteY59" fmla="*/ 1296179 h 2920216"/>
              <a:gd name="connsiteX60" fmla="*/ 2115859 w 2920154"/>
              <a:gd name="connsiteY60" fmla="*/ 1267289 h 2920216"/>
              <a:gd name="connsiteX61" fmla="*/ 2076786 w 2920154"/>
              <a:gd name="connsiteY61" fmla="*/ 1256831 h 2920216"/>
              <a:gd name="connsiteX62" fmla="*/ 2076220 w 2920154"/>
              <a:gd name="connsiteY62" fmla="*/ 1288648 h 2920216"/>
              <a:gd name="connsiteX63" fmla="*/ 1997142 w 2920154"/>
              <a:gd name="connsiteY63" fmla="*/ 1502857 h 2920216"/>
              <a:gd name="connsiteX64" fmla="*/ 1788674 w 2920154"/>
              <a:gd name="connsiteY64" fmla="*/ 1814170 h 2920216"/>
              <a:gd name="connsiteX65" fmla="*/ 1787254 w 2920154"/>
              <a:gd name="connsiteY65" fmla="*/ 1815960 h 2920216"/>
              <a:gd name="connsiteX66" fmla="*/ 1713114 w 2920154"/>
              <a:gd name="connsiteY66" fmla="*/ 1815960 h 2920216"/>
              <a:gd name="connsiteX67" fmla="*/ 1713616 w 2920154"/>
              <a:gd name="connsiteY67" fmla="*/ 1815342 h 2920216"/>
              <a:gd name="connsiteX68" fmla="*/ 1691940 w 2920154"/>
              <a:gd name="connsiteY68" fmla="*/ 1815342 h 2920216"/>
              <a:gd name="connsiteX69" fmla="*/ 1698052 w 2920154"/>
              <a:gd name="connsiteY69" fmla="*/ 1807811 h 2920216"/>
              <a:gd name="connsiteX70" fmla="*/ 1996462 w 2920154"/>
              <a:gd name="connsiteY70" fmla="*/ 1283956 h 2920216"/>
              <a:gd name="connsiteX71" fmla="*/ 1955534 w 2920154"/>
              <a:gd name="connsiteY71" fmla="*/ 1118454 h 2920216"/>
              <a:gd name="connsiteX72" fmla="*/ 1828991 w 2920154"/>
              <a:gd name="connsiteY72" fmla="*/ 1054127 h 2920216"/>
              <a:gd name="connsiteX73" fmla="*/ 1784872 w 2920154"/>
              <a:gd name="connsiteY73" fmla="*/ 1050922 h 2920216"/>
              <a:gd name="connsiteX74" fmla="*/ 1733424 w 2920154"/>
              <a:gd name="connsiteY74" fmla="*/ 1055248 h 2920216"/>
              <a:gd name="connsiteX75" fmla="*/ 1510696 w 2920154"/>
              <a:gd name="connsiteY75" fmla="*/ 1175247 h 2920216"/>
              <a:gd name="connsiteX76" fmla="*/ 1510696 w 2920154"/>
              <a:gd name="connsiteY76" fmla="*/ 1802070 h 2920216"/>
              <a:gd name="connsiteX77" fmla="*/ 1510696 w 2920154"/>
              <a:gd name="connsiteY77" fmla="*/ 1816022 h 2920216"/>
              <a:gd name="connsiteX78" fmla="*/ 1452113 w 2920154"/>
              <a:gd name="connsiteY78" fmla="*/ 1816022 h 2920216"/>
              <a:gd name="connsiteX79" fmla="*/ 1452113 w 2920154"/>
              <a:gd name="connsiteY79" fmla="*/ 1815404 h 2920216"/>
              <a:gd name="connsiteX80" fmla="*/ 1430877 w 2920154"/>
              <a:gd name="connsiteY80" fmla="*/ 1815404 h 2920216"/>
              <a:gd name="connsiteX81" fmla="*/ 1430877 w 2920154"/>
              <a:gd name="connsiteY81" fmla="*/ 1174629 h 2920216"/>
              <a:gd name="connsiteX82" fmla="*/ 1208150 w 2920154"/>
              <a:gd name="connsiteY82" fmla="*/ 1054630 h 2920216"/>
              <a:gd name="connsiteX83" fmla="*/ 1164594 w 2920154"/>
              <a:gd name="connsiteY83" fmla="*/ 1050968 h 2920216"/>
              <a:gd name="connsiteX84" fmla="*/ 1112547 w 2920154"/>
              <a:gd name="connsiteY84" fmla="*/ 1054755 h 2920216"/>
              <a:gd name="connsiteX85" fmla="*/ 985977 w 2920154"/>
              <a:gd name="connsiteY85" fmla="*/ 1119133 h 2920216"/>
              <a:gd name="connsiteX86" fmla="*/ 943984 w 2920154"/>
              <a:gd name="connsiteY86" fmla="*/ 1225350 h 2920216"/>
              <a:gd name="connsiteX87" fmla="*/ 943405 w 2920154"/>
              <a:gd name="connsiteY87" fmla="*/ 1254778 h 2920216"/>
              <a:gd name="connsiteX88" fmla="*/ 944286 w 2920154"/>
              <a:gd name="connsiteY88" fmla="*/ 1264777 h 2920216"/>
              <a:gd name="connsiteX89" fmla="*/ 945049 w 2920154"/>
              <a:gd name="connsiteY89" fmla="*/ 1270252 h 2920216"/>
              <a:gd name="connsiteX90" fmla="*/ 1243522 w 2920154"/>
              <a:gd name="connsiteY90" fmla="*/ 1794477 h 2920216"/>
              <a:gd name="connsiteX91" fmla="*/ 1249633 w 2920154"/>
              <a:gd name="connsiteY91" fmla="*/ 1802008 h 2920216"/>
              <a:gd name="connsiteX92" fmla="*/ 1238401 w 2920154"/>
              <a:gd name="connsiteY92" fmla="*/ 1802008 h 2920216"/>
              <a:gd name="connsiteX93" fmla="*/ 1239906 w 2920154"/>
              <a:gd name="connsiteY93" fmla="*/ 1803914 h 2920216"/>
              <a:gd name="connsiteX94" fmla="*/ 1243522 w 2920154"/>
              <a:gd name="connsiteY94" fmla="*/ 1808429 h 2920216"/>
              <a:gd name="connsiteX95" fmla="*/ 1249633 w 2920154"/>
              <a:gd name="connsiteY95" fmla="*/ 1815960 h 2920216"/>
              <a:gd name="connsiteX96" fmla="*/ 1175493 w 2920154"/>
              <a:gd name="connsiteY96" fmla="*/ 1815960 h 2920216"/>
              <a:gd name="connsiteX97" fmla="*/ 1175003 w 2920154"/>
              <a:gd name="connsiteY97" fmla="*/ 1815342 h 2920216"/>
              <a:gd name="connsiteX98" fmla="*/ 1154257 w 2920154"/>
              <a:gd name="connsiteY98" fmla="*/ 1815342 h 2920216"/>
              <a:gd name="connsiteX99" fmla="*/ 1152838 w 2920154"/>
              <a:gd name="connsiteY99" fmla="*/ 1813552 h 2920216"/>
              <a:gd name="connsiteX100" fmla="*/ 944308 w 2920154"/>
              <a:gd name="connsiteY100" fmla="*/ 1502239 h 2920216"/>
              <a:gd name="connsiteX101" fmla="*/ 865292 w 2920154"/>
              <a:gd name="connsiteY101" fmla="*/ 1288031 h 2920216"/>
              <a:gd name="connsiteX102" fmla="*/ 864746 w 2920154"/>
              <a:gd name="connsiteY102" fmla="*/ 1257454 h 2920216"/>
              <a:gd name="connsiteX103" fmla="*/ 825660 w 2920154"/>
              <a:gd name="connsiteY103" fmla="*/ 1267907 h 2920216"/>
              <a:gd name="connsiteX104" fmla="*/ 783189 w 2920154"/>
              <a:gd name="connsiteY104" fmla="*/ 1296797 h 2920216"/>
              <a:gd name="connsiteX105" fmla="*/ 752848 w 2920154"/>
              <a:gd name="connsiteY105" fmla="*/ 1352556 h 2920216"/>
              <a:gd name="connsiteX106" fmla="*/ 746521 w 2920154"/>
              <a:gd name="connsiteY106" fmla="*/ 1421575 h 2920216"/>
              <a:gd name="connsiteX107" fmla="*/ 752032 w 2920154"/>
              <a:gd name="connsiteY107" fmla="*/ 1450442 h 2920216"/>
              <a:gd name="connsiteX108" fmla="*/ 828129 w 2920154"/>
              <a:gd name="connsiteY108" fmla="*/ 1595207 h 2920216"/>
              <a:gd name="connsiteX109" fmla="*/ 984743 w 2920154"/>
              <a:gd name="connsiteY109" fmla="*/ 1794291 h 2920216"/>
              <a:gd name="connsiteX110" fmla="*/ 991657 w 2920154"/>
              <a:gd name="connsiteY110" fmla="*/ 1802008 h 2920216"/>
              <a:gd name="connsiteX111" fmla="*/ 979507 w 2920154"/>
              <a:gd name="connsiteY111" fmla="*/ 1802008 h 2920216"/>
              <a:gd name="connsiteX112" fmla="*/ 984743 w 2920154"/>
              <a:gd name="connsiteY112" fmla="*/ 1808244 h 2920216"/>
              <a:gd name="connsiteX113" fmla="*/ 991657 w 2920154"/>
              <a:gd name="connsiteY113" fmla="*/ 1815960 h 2920216"/>
              <a:gd name="connsiteX114" fmla="*/ 913937 w 2920154"/>
              <a:gd name="connsiteY114" fmla="*/ 1815960 h 2920216"/>
              <a:gd name="connsiteX115" fmla="*/ 913414 w 2920154"/>
              <a:gd name="connsiteY115" fmla="*/ 1815342 h 2920216"/>
              <a:gd name="connsiteX116" fmla="*/ 892701 w 2920154"/>
              <a:gd name="connsiteY116" fmla="*/ 1815342 h 2920216"/>
              <a:gd name="connsiteX117" fmla="*/ 891342 w 2920154"/>
              <a:gd name="connsiteY117" fmla="*/ 1813737 h 2920216"/>
              <a:gd name="connsiteX118" fmla="*/ 665960 w 2920154"/>
              <a:gd name="connsiteY118" fmla="*/ 1433347 h 2920216"/>
              <a:gd name="connsiteX119" fmla="*/ 777659 w 2920154"/>
              <a:gd name="connsiteY119" fmla="*/ 1215575 h 2920216"/>
              <a:gd name="connsiteX120" fmla="*/ 782871 w 2920154"/>
              <a:gd name="connsiteY120" fmla="*/ 1214227 h 2920216"/>
              <a:gd name="connsiteX121" fmla="*/ 798895 w 2920154"/>
              <a:gd name="connsiteY121" fmla="*/ 1202240 h 2920216"/>
              <a:gd name="connsiteX122" fmla="*/ 871960 w 2920154"/>
              <a:gd name="connsiteY122" fmla="*/ 1183344 h 2920216"/>
              <a:gd name="connsiteX123" fmla="*/ 881182 w 2920154"/>
              <a:gd name="connsiteY123" fmla="*/ 1146514 h 2920216"/>
              <a:gd name="connsiteX124" fmla="*/ 958330 w 2920154"/>
              <a:gd name="connsiteY124" fmla="*/ 1043673 h 2920216"/>
              <a:gd name="connsiteX125" fmla="*/ 973769 w 2920154"/>
              <a:gd name="connsiteY125" fmla="*/ 1036532 h 2920216"/>
              <a:gd name="connsiteX126" fmla="*/ 979565 w 2920154"/>
              <a:gd name="connsiteY126" fmla="*/ 1030285 h 2920216"/>
              <a:gd name="connsiteX127" fmla="*/ 1171975 w 2920154"/>
              <a:gd name="connsiteY127" fmla="*/ 977829 h 2920216"/>
              <a:gd name="connsiteX128" fmla="*/ 1263909 w 2920154"/>
              <a:gd name="connsiteY128" fmla="*/ 988439 h 2920216"/>
              <a:gd name="connsiteX129" fmla="*/ 1334979 w 2920154"/>
              <a:gd name="connsiteY129" fmla="*/ 1013404 h 2920216"/>
              <a:gd name="connsiteX130" fmla="*/ 1337911 w 2920154"/>
              <a:gd name="connsiteY130" fmla="*/ 985744 h 2920216"/>
              <a:gd name="connsiteX131" fmla="*/ 1391583 w 2920154"/>
              <a:gd name="connsiteY131" fmla="*/ 917133 h 2920216"/>
              <a:gd name="connsiteX132" fmla="*/ 1403456 w 2920154"/>
              <a:gd name="connsiteY132" fmla="*/ 912093 h 2920216"/>
              <a:gd name="connsiteX133" fmla="*/ 1412819 w 2920154"/>
              <a:gd name="connsiteY133" fmla="*/ 903711 h 2920216"/>
              <a:gd name="connsiteX134" fmla="*/ 1430815 w 2920154"/>
              <a:gd name="connsiteY134" fmla="*/ 896084 h 2920216"/>
              <a:gd name="connsiteX135" fmla="*/ 1430815 w 2920154"/>
              <a:gd name="connsiteY135" fmla="*/ 823562 h 2920216"/>
              <a:gd name="connsiteX136" fmla="*/ 1439404 w 2920154"/>
              <a:gd name="connsiteY136" fmla="*/ 802835 h 2920216"/>
              <a:gd name="connsiteX137" fmla="*/ 1458354 w 2920154"/>
              <a:gd name="connsiteY137" fmla="*/ 794955 h 2920216"/>
              <a:gd name="connsiteX138" fmla="*/ 1460640 w 2920154"/>
              <a:gd name="connsiteY138" fmla="*/ 789439 h 2920216"/>
              <a:gd name="connsiteX139" fmla="*/ 1481312 w 2920154"/>
              <a:gd name="connsiteY139" fmla="*/ 780843 h 2920216"/>
              <a:gd name="connsiteX140" fmla="*/ 1555329 w 2920154"/>
              <a:gd name="connsiteY140" fmla="*/ 706642 h 2920216"/>
              <a:gd name="connsiteX141" fmla="*/ 1654161 w 2920154"/>
              <a:gd name="connsiteY141" fmla="*/ 706642 h 2920216"/>
              <a:gd name="connsiteX142" fmla="*/ 1683483 w 2920154"/>
              <a:gd name="connsiteY142" fmla="*/ 735965 h 2920216"/>
              <a:gd name="connsiteX143" fmla="*/ 1680590 w 2920154"/>
              <a:gd name="connsiteY143" fmla="*/ 742940 h 2920216"/>
              <a:gd name="connsiteX144" fmla="*/ 1683483 w 2920154"/>
              <a:gd name="connsiteY144" fmla="*/ 749915 h 2920216"/>
              <a:gd name="connsiteX145" fmla="*/ 1654161 w 2920154"/>
              <a:gd name="connsiteY145" fmla="*/ 779238 h 2920216"/>
              <a:gd name="connsiteX146" fmla="*/ 1555329 w 2920154"/>
              <a:gd name="connsiteY146" fmla="*/ 779238 h 2920216"/>
              <a:gd name="connsiteX147" fmla="*/ 1553841 w 2920154"/>
              <a:gd name="connsiteY147" fmla="*/ 778621 h 2920216"/>
              <a:gd name="connsiteX148" fmla="*/ 1534093 w 2920154"/>
              <a:gd name="connsiteY148" fmla="*/ 778621 h 2920216"/>
              <a:gd name="connsiteX149" fmla="*/ 1504770 w 2920154"/>
              <a:gd name="connsiteY149" fmla="*/ 749299 h 2920216"/>
              <a:gd name="connsiteX150" fmla="*/ 1513366 w 2920154"/>
              <a:gd name="connsiteY150" fmla="*/ 728572 h 2920216"/>
              <a:gd name="connsiteX151" fmla="*/ 1532335 w 2920154"/>
              <a:gd name="connsiteY151" fmla="*/ 720705 h 2920216"/>
              <a:gd name="connsiteX152" fmla="*/ 1534602 w 2920154"/>
              <a:gd name="connsiteY152" fmla="*/ 715238 h 2920216"/>
              <a:gd name="connsiteX153" fmla="*/ 1555329 w 2920154"/>
              <a:gd name="connsiteY153" fmla="*/ 706642 h 2920216"/>
              <a:gd name="connsiteX154" fmla="*/ 1308526 w 2920154"/>
              <a:gd name="connsiteY154" fmla="*/ 706642 h 2920216"/>
              <a:gd name="connsiteX155" fmla="*/ 1407358 w 2920154"/>
              <a:gd name="connsiteY155" fmla="*/ 706642 h 2920216"/>
              <a:gd name="connsiteX156" fmla="*/ 1436680 w 2920154"/>
              <a:gd name="connsiteY156" fmla="*/ 735965 h 2920216"/>
              <a:gd name="connsiteX157" fmla="*/ 1433787 w 2920154"/>
              <a:gd name="connsiteY157" fmla="*/ 742940 h 2920216"/>
              <a:gd name="connsiteX158" fmla="*/ 1436680 w 2920154"/>
              <a:gd name="connsiteY158" fmla="*/ 749915 h 2920216"/>
              <a:gd name="connsiteX159" fmla="*/ 1407358 w 2920154"/>
              <a:gd name="connsiteY159" fmla="*/ 779238 h 2920216"/>
              <a:gd name="connsiteX160" fmla="*/ 1308526 w 2920154"/>
              <a:gd name="connsiteY160" fmla="*/ 779238 h 2920216"/>
              <a:gd name="connsiteX161" fmla="*/ 1307039 w 2920154"/>
              <a:gd name="connsiteY161" fmla="*/ 778621 h 2920216"/>
              <a:gd name="connsiteX162" fmla="*/ 1287290 w 2920154"/>
              <a:gd name="connsiteY162" fmla="*/ 778621 h 2920216"/>
              <a:gd name="connsiteX163" fmla="*/ 1257967 w 2920154"/>
              <a:gd name="connsiteY163" fmla="*/ 749299 h 2920216"/>
              <a:gd name="connsiteX164" fmla="*/ 1266563 w 2920154"/>
              <a:gd name="connsiteY164" fmla="*/ 728572 h 2920216"/>
              <a:gd name="connsiteX165" fmla="*/ 1285532 w 2920154"/>
              <a:gd name="connsiteY165" fmla="*/ 720705 h 2920216"/>
              <a:gd name="connsiteX166" fmla="*/ 1287799 w 2920154"/>
              <a:gd name="connsiteY166" fmla="*/ 715238 h 2920216"/>
              <a:gd name="connsiteX167" fmla="*/ 1308526 w 2920154"/>
              <a:gd name="connsiteY167" fmla="*/ 706642 h 2920216"/>
              <a:gd name="connsiteX168" fmla="*/ 1481313 w 2920154"/>
              <a:gd name="connsiteY168" fmla="*/ 533608 h 2920216"/>
              <a:gd name="connsiteX169" fmla="*/ 1510635 w 2920154"/>
              <a:gd name="connsiteY169" fmla="*/ 562931 h 2920216"/>
              <a:gd name="connsiteX170" fmla="*/ 1510635 w 2920154"/>
              <a:gd name="connsiteY170" fmla="*/ 576882 h 2920216"/>
              <a:gd name="connsiteX171" fmla="*/ 1510635 w 2920154"/>
              <a:gd name="connsiteY171" fmla="*/ 661639 h 2920216"/>
              <a:gd name="connsiteX172" fmla="*/ 1510635 w 2920154"/>
              <a:gd name="connsiteY172" fmla="*/ 675590 h 2920216"/>
              <a:gd name="connsiteX173" fmla="*/ 1481313 w 2920154"/>
              <a:gd name="connsiteY173" fmla="*/ 704913 h 2920216"/>
              <a:gd name="connsiteX174" fmla="*/ 1469951 w 2920154"/>
              <a:gd name="connsiteY174" fmla="*/ 700201 h 2920216"/>
              <a:gd name="connsiteX175" fmla="*/ 1460077 w 2920154"/>
              <a:gd name="connsiteY175" fmla="*/ 704296 h 2920216"/>
              <a:gd name="connsiteX176" fmla="*/ 1430754 w 2920154"/>
              <a:gd name="connsiteY176" fmla="*/ 674973 h 2920216"/>
              <a:gd name="connsiteX177" fmla="*/ 1430754 w 2920154"/>
              <a:gd name="connsiteY177" fmla="*/ 576265 h 2920216"/>
              <a:gd name="connsiteX178" fmla="*/ 1439350 w 2920154"/>
              <a:gd name="connsiteY178" fmla="*/ 555538 h 2920216"/>
              <a:gd name="connsiteX179" fmla="*/ 1458319 w 2920154"/>
              <a:gd name="connsiteY179" fmla="*/ 547671 h 2920216"/>
              <a:gd name="connsiteX180" fmla="*/ 1460586 w 2920154"/>
              <a:gd name="connsiteY180" fmla="*/ 542204 h 2920216"/>
              <a:gd name="connsiteX181" fmla="*/ 1481313 w 2920154"/>
              <a:gd name="connsiteY181" fmla="*/ 533608 h 2920216"/>
              <a:gd name="connsiteX182" fmla="*/ 1460077 w 2920154"/>
              <a:gd name="connsiteY182" fmla="*/ 74078 h 2920216"/>
              <a:gd name="connsiteX183" fmla="*/ 480025 w 2920154"/>
              <a:gd name="connsiteY183" fmla="*/ 480025 h 2920216"/>
              <a:gd name="connsiteX184" fmla="*/ 74078 w 2920154"/>
              <a:gd name="connsiteY184" fmla="*/ 1460139 h 2920216"/>
              <a:gd name="connsiteX185" fmla="*/ 480025 w 2920154"/>
              <a:gd name="connsiteY185" fmla="*/ 2440190 h 2920216"/>
              <a:gd name="connsiteX186" fmla="*/ 1460077 w 2920154"/>
              <a:gd name="connsiteY186" fmla="*/ 2846138 h 2920216"/>
              <a:gd name="connsiteX187" fmla="*/ 2440129 w 2920154"/>
              <a:gd name="connsiteY187" fmla="*/ 2440190 h 2920216"/>
              <a:gd name="connsiteX188" fmla="*/ 2846076 w 2920154"/>
              <a:gd name="connsiteY188" fmla="*/ 1460139 h 2920216"/>
              <a:gd name="connsiteX189" fmla="*/ 2440129 w 2920154"/>
              <a:gd name="connsiteY189" fmla="*/ 480087 h 2920216"/>
              <a:gd name="connsiteX190" fmla="*/ 1460077 w 2920154"/>
              <a:gd name="connsiteY190" fmla="*/ 74078 h 2920216"/>
              <a:gd name="connsiteX191" fmla="*/ 1460077 w 2920154"/>
              <a:gd name="connsiteY191" fmla="*/ 0 h 2920216"/>
              <a:gd name="connsiteX192" fmla="*/ 2492477 w 2920154"/>
              <a:gd name="connsiteY192" fmla="*/ 427677 h 2920216"/>
              <a:gd name="connsiteX193" fmla="*/ 2920154 w 2920154"/>
              <a:gd name="connsiteY193" fmla="*/ 1460139 h 2920216"/>
              <a:gd name="connsiteX194" fmla="*/ 2492477 w 2920154"/>
              <a:gd name="connsiteY194" fmla="*/ 2492601 h 2920216"/>
              <a:gd name="connsiteX195" fmla="*/ 1460077 w 2920154"/>
              <a:gd name="connsiteY195" fmla="*/ 2920216 h 2920216"/>
              <a:gd name="connsiteX196" fmla="*/ 1460077 w 2920154"/>
              <a:gd name="connsiteY196" fmla="*/ 2920154 h 2920216"/>
              <a:gd name="connsiteX197" fmla="*/ 427615 w 2920154"/>
              <a:gd name="connsiteY197" fmla="*/ 2492539 h 2920216"/>
              <a:gd name="connsiteX198" fmla="*/ 0 w 2920154"/>
              <a:gd name="connsiteY198" fmla="*/ 1460139 h 2920216"/>
              <a:gd name="connsiteX199" fmla="*/ 427677 w 2920154"/>
              <a:gd name="connsiteY199" fmla="*/ 427677 h 2920216"/>
              <a:gd name="connsiteX200" fmla="*/ 1460077 w 2920154"/>
              <a:gd name="connsiteY200" fmla="*/ 0 h 292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920154" h="2920216">
                <a:moveTo>
                  <a:pt x="908875" y="2064244"/>
                </a:moveTo>
                <a:lnTo>
                  <a:pt x="2053750" y="2064244"/>
                </a:lnTo>
                <a:lnTo>
                  <a:pt x="2053750" y="2078196"/>
                </a:lnTo>
                <a:lnTo>
                  <a:pt x="2053750" y="2122889"/>
                </a:lnTo>
                <a:lnTo>
                  <a:pt x="2053750" y="2136841"/>
                </a:lnTo>
                <a:lnTo>
                  <a:pt x="908875" y="2136841"/>
                </a:lnTo>
                <a:lnTo>
                  <a:pt x="908875" y="2136223"/>
                </a:lnTo>
                <a:lnTo>
                  <a:pt x="887639" y="2136223"/>
                </a:lnTo>
                <a:lnTo>
                  <a:pt x="887639" y="2077578"/>
                </a:lnTo>
                <a:lnTo>
                  <a:pt x="908875" y="2077578"/>
                </a:lnTo>
                <a:close/>
                <a:moveTo>
                  <a:pt x="908875" y="1965535"/>
                </a:moveTo>
                <a:lnTo>
                  <a:pt x="2053750" y="1965535"/>
                </a:lnTo>
                <a:lnTo>
                  <a:pt x="2053750" y="1979487"/>
                </a:lnTo>
                <a:lnTo>
                  <a:pt x="2053750" y="2024180"/>
                </a:lnTo>
                <a:lnTo>
                  <a:pt x="2053750" y="2038132"/>
                </a:lnTo>
                <a:lnTo>
                  <a:pt x="908875" y="2038132"/>
                </a:lnTo>
                <a:lnTo>
                  <a:pt x="908875" y="2037514"/>
                </a:lnTo>
                <a:lnTo>
                  <a:pt x="887639" y="2037514"/>
                </a:lnTo>
                <a:lnTo>
                  <a:pt x="887639" y="1978869"/>
                </a:lnTo>
                <a:lnTo>
                  <a:pt x="908875" y="1978869"/>
                </a:lnTo>
                <a:close/>
                <a:moveTo>
                  <a:pt x="908875" y="1866826"/>
                </a:moveTo>
                <a:lnTo>
                  <a:pt x="2053750" y="1866826"/>
                </a:lnTo>
                <a:lnTo>
                  <a:pt x="2053750" y="1880778"/>
                </a:lnTo>
                <a:lnTo>
                  <a:pt x="2053750" y="1925471"/>
                </a:lnTo>
                <a:lnTo>
                  <a:pt x="2053750" y="1939423"/>
                </a:lnTo>
                <a:lnTo>
                  <a:pt x="908875" y="1939423"/>
                </a:lnTo>
                <a:lnTo>
                  <a:pt x="908875" y="1938805"/>
                </a:lnTo>
                <a:lnTo>
                  <a:pt x="887639" y="1938805"/>
                </a:lnTo>
                <a:lnTo>
                  <a:pt x="887639" y="1880160"/>
                </a:lnTo>
                <a:lnTo>
                  <a:pt x="908875" y="1880160"/>
                </a:lnTo>
                <a:close/>
                <a:moveTo>
                  <a:pt x="1474198" y="954491"/>
                </a:moveTo>
                <a:lnTo>
                  <a:pt x="1440416" y="964842"/>
                </a:lnTo>
                <a:cubicBezTo>
                  <a:pt x="1428701" y="972775"/>
                  <a:pt x="1419387" y="984006"/>
                  <a:pt x="1413811" y="997197"/>
                </a:cubicBezTo>
                <a:lnTo>
                  <a:pt x="1409446" y="1018819"/>
                </a:lnTo>
                <a:lnTo>
                  <a:pt x="1413811" y="1040441"/>
                </a:lnTo>
                <a:cubicBezTo>
                  <a:pt x="1424963" y="1066822"/>
                  <a:pt x="1451064" y="1085365"/>
                  <a:pt x="1481436" y="1085365"/>
                </a:cubicBezTo>
                <a:lnTo>
                  <a:pt x="1513081" y="1075668"/>
                </a:lnTo>
                <a:lnTo>
                  <a:pt x="1527824" y="1053775"/>
                </a:lnTo>
                <a:cubicBezTo>
                  <a:pt x="1531542" y="1044981"/>
                  <a:pt x="1533598" y="1035316"/>
                  <a:pt x="1533598" y="1025177"/>
                </a:cubicBezTo>
                <a:cubicBezTo>
                  <a:pt x="1533598" y="994758"/>
                  <a:pt x="1515091" y="968612"/>
                  <a:pt x="1488753" y="957439"/>
                </a:cubicBezTo>
                <a:close/>
                <a:moveTo>
                  <a:pt x="1481312" y="780843"/>
                </a:moveTo>
                <a:cubicBezTo>
                  <a:pt x="1497424" y="780843"/>
                  <a:pt x="1510573" y="793992"/>
                  <a:pt x="1510573" y="810166"/>
                </a:cubicBezTo>
                <a:lnTo>
                  <a:pt x="1510573" y="824118"/>
                </a:lnTo>
                <a:lnTo>
                  <a:pt x="1510573" y="887083"/>
                </a:lnTo>
                <a:cubicBezTo>
                  <a:pt x="1565267" y="900047"/>
                  <a:pt x="1614591" y="951901"/>
                  <a:pt x="1608541" y="1020115"/>
                </a:cubicBezTo>
                <a:cubicBezTo>
                  <a:pt x="1667803" y="992027"/>
                  <a:pt x="1729041" y="977829"/>
                  <a:pt x="1790649" y="977829"/>
                </a:cubicBezTo>
                <a:cubicBezTo>
                  <a:pt x="1949300" y="977829"/>
                  <a:pt x="2051466" y="1050919"/>
                  <a:pt x="2071528" y="1178395"/>
                </a:cubicBezTo>
                <a:lnTo>
                  <a:pt x="2071590" y="1178395"/>
                </a:lnTo>
                <a:cubicBezTo>
                  <a:pt x="2212215" y="1193210"/>
                  <a:pt x="2282712" y="1276672"/>
                  <a:pt x="2275490" y="1420012"/>
                </a:cubicBezTo>
                <a:lnTo>
                  <a:pt x="2274628" y="1424789"/>
                </a:lnTo>
                <a:lnTo>
                  <a:pt x="2275490" y="1433965"/>
                </a:lnTo>
                <a:cubicBezTo>
                  <a:pt x="2269996" y="1543168"/>
                  <a:pt x="2131902" y="1719165"/>
                  <a:pt x="2050108" y="1814355"/>
                </a:cubicBezTo>
                <a:lnTo>
                  <a:pt x="2048749" y="1815960"/>
                </a:lnTo>
                <a:lnTo>
                  <a:pt x="1971029" y="1815960"/>
                </a:lnTo>
                <a:lnTo>
                  <a:pt x="1971583" y="1815342"/>
                </a:lnTo>
                <a:lnTo>
                  <a:pt x="1949855" y="1815342"/>
                </a:lnTo>
                <a:lnTo>
                  <a:pt x="1956769" y="1807626"/>
                </a:lnTo>
                <a:cubicBezTo>
                  <a:pt x="2014920" y="1742807"/>
                  <a:pt x="2072022" y="1670211"/>
                  <a:pt x="2113382" y="1608541"/>
                </a:cubicBezTo>
                <a:cubicBezTo>
                  <a:pt x="2165422" y="1531006"/>
                  <a:pt x="2193942" y="1469398"/>
                  <a:pt x="2195917" y="1430384"/>
                </a:cubicBezTo>
                <a:cubicBezTo>
                  <a:pt x="2198881" y="1370751"/>
                  <a:pt x="2186225" y="1325563"/>
                  <a:pt x="2158323" y="1296179"/>
                </a:cubicBezTo>
                <a:cubicBezTo>
                  <a:pt x="2147211" y="1284450"/>
                  <a:pt x="2133013" y="1274804"/>
                  <a:pt x="2115859" y="1267289"/>
                </a:cubicBezTo>
                <a:lnTo>
                  <a:pt x="2076786" y="1256831"/>
                </a:lnTo>
                <a:lnTo>
                  <a:pt x="2076220" y="1288648"/>
                </a:lnTo>
                <a:cubicBezTo>
                  <a:pt x="2071343" y="1343096"/>
                  <a:pt x="2044737" y="1415136"/>
                  <a:pt x="1997142" y="1502857"/>
                </a:cubicBezTo>
                <a:cubicBezTo>
                  <a:pt x="1973992" y="1545575"/>
                  <a:pt x="1907199" y="1661446"/>
                  <a:pt x="1788674" y="1814170"/>
                </a:cubicBezTo>
                <a:lnTo>
                  <a:pt x="1787254" y="1815960"/>
                </a:lnTo>
                <a:lnTo>
                  <a:pt x="1713114" y="1815960"/>
                </a:lnTo>
                <a:lnTo>
                  <a:pt x="1713616" y="1815342"/>
                </a:lnTo>
                <a:lnTo>
                  <a:pt x="1691940" y="1815342"/>
                </a:lnTo>
                <a:lnTo>
                  <a:pt x="1698052" y="1807811"/>
                </a:lnTo>
                <a:cubicBezTo>
                  <a:pt x="1700891" y="1804354"/>
                  <a:pt x="1978869" y="1460323"/>
                  <a:pt x="1996462" y="1283956"/>
                </a:cubicBezTo>
                <a:cubicBezTo>
                  <a:pt x="1997141" y="1279635"/>
                  <a:pt x="2012266" y="1185494"/>
                  <a:pt x="1955534" y="1118454"/>
                </a:cubicBezTo>
                <a:cubicBezTo>
                  <a:pt x="1926644" y="1084285"/>
                  <a:pt x="1884211" y="1062756"/>
                  <a:pt x="1828991" y="1054127"/>
                </a:cubicBezTo>
                <a:lnTo>
                  <a:pt x="1784872" y="1050922"/>
                </a:lnTo>
                <a:lnTo>
                  <a:pt x="1733424" y="1055248"/>
                </a:lnTo>
                <a:cubicBezTo>
                  <a:pt x="1605628" y="1076791"/>
                  <a:pt x="1521391" y="1163688"/>
                  <a:pt x="1510696" y="1175247"/>
                </a:cubicBezTo>
                <a:lnTo>
                  <a:pt x="1510696" y="1802070"/>
                </a:lnTo>
                <a:lnTo>
                  <a:pt x="1510696" y="1816022"/>
                </a:lnTo>
                <a:lnTo>
                  <a:pt x="1452113" y="1816022"/>
                </a:lnTo>
                <a:lnTo>
                  <a:pt x="1452113" y="1815404"/>
                </a:lnTo>
                <a:lnTo>
                  <a:pt x="1430877" y="1815404"/>
                </a:lnTo>
                <a:lnTo>
                  <a:pt x="1430877" y="1174629"/>
                </a:lnTo>
                <a:cubicBezTo>
                  <a:pt x="1420182" y="1163070"/>
                  <a:pt x="1335946" y="1076173"/>
                  <a:pt x="1208150" y="1054630"/>
                </a:cubicBezTo>
                <a:lnTo>
                  <a:pt x="1164594" y="1050968"/>
                </a:lnTo>
                <a:lnTo>
                  <a:pt x="1112547" y="1054755"/>
                </a:lnTo>
                <a:cubicBezTo>
                  <a:pt x="1057301" y="1063401"/>
                  <a:pt x="1014868" y="1084964"/>
                  <a:pt x="985977" y="1119133"/>
                </a:cubicBezTo>
                <a:cubicBezTo>
                  <a:pt x="957612" y="1152684"/>
                  <a:pt x="947210" y="1192964"/>
                  <a:pt x="943984" y="1225350"/>
                </a:cubicBezTo>
                <a:lnTo>
                  <a:pt x="943405" y="1254778"/>
                </a:lnTo>
                <a:lnTo>
                  <a:pt x="944286" y="1264777"/>
                </a:lnTo>
                <a:cubicBezTo>
                  <a:pt x="944654" y="1267857"/>
                  <a:pt x="944964" y="1269758"/>
                  <a:pt x="945049" y="1270252"/>
                </a:cubicBezTo>
                <a:cubicBezTo>
                  <a:pt x="962704" y="1447051"/>
                  <a:pt x="1240744" y="1791020"/>
                  <a:pt x="1243522" y="1794477"/>
                </a:cubicBezTo>
                <a:lnTo>
                  <a:pt x="1249633" y="1802008"/>
                </a:lnTo>
                <a:lnTo>
                  <a:pt x="1238401" y="1802008"/>
                </a:lnTo>
                <a:lnTo>
                  <a:pt x="1239906" y="1803914"/>
                </a:lnTo>
                <a:cubicBezTo>
                  <a:pt x="1242100" y="1806667"/>
                  <a:pt x="1243349" y="1808213"/>
                  <a:pt x="1243522" y="1808429"/>
                </a:cubicBezTo>
                <a:lnTo>
                  <a:pt x="1249633" y="1815960"/>
                </a:lnTo>
                <a:lnTo>
                  <a:pt x="1175493" y="1815960"/>
                </a:lnTo>
                <a:lnTo>
                  <a:pt x="1175003" y="1815342"/>
                </a:lnTo>
                <a:lnTo>
                  <a:pt x="1154257" y="1815342"/>
                </a:lnTo>
                <a:lnTo>
                  <a:pt x="1152838" y="1813552"/>
                </a:lnTo>
                <a:cubicBezTo>
                  <a:pt x="1034251" y="1660828"/>
                  <a:pt x="967519" y="1544958"/>
                  <a:pt x="944308" y="1502239"/>
                </a:cubicBezTo>
                <a:cubicBezTo>
                  <a:pt x="896713" y="1414519"/>
                  <a:pt x="870107" y="1342416"/>
                  <a:pt x="865292" y="1288031"/>
                </a:cubicBezTo>
                <a:lnTo>
                  <a:pt x="864746" y="1257454"/>
                </a:lnTo>
                <a:lnTo>
                  <a:pt x="825660" y="1267907"/>
                </a:lnTo>
                <a:cubicBezTo>
                  <a:pt x="808499" y="1275422"/>
                  <a:pt x="794301" y="1285068"/>
                  <a:pt x="783189" y="1296797"/>
                </a:cubicBezTo>
                <a:cubicBezTo>
                  <a:pt x="769238" y="1311489"/>
                  <a:pt x="759114" y="1330132"/>
                  <a:pt x="752848" y="1352556"/>
                </a:cubicBezTo>
                <a:lnTo>
                  <a:pt x="746521" y="1421575"/>
                </a:lnTo>
                <a:lnTo>
                  <a:pt x="752032" y="1450442"/>
                </a:lnTo>
                <a:cubicBezTo>
                  <a:pt x="763300" y="1487863"/>
                  <a:pt x="789100" y="1537056"/>
                  <a:pt x="828129" y="1595207"/>
                </a:cubicBezTo>
                <a:cubicBezTo>
                  <a:pt x="869551" y="1656877"/>
                  <a:pt x="926592" y="1729473"/>
                  <a:pt x="984743" y="1794291"/>
                </a:cubicBezTo>
                <a:lnTo>
                  <a:pt x="991657" y="1802008"/>
                </a:lnTo>
                <a:lnTo>
                  <a:pt x="979507" y="1802008"/>
                </a:lnTo>
                <a:lnTo>
                  <a:pt x="984743" y="1808244"/>
                </a:lnTo>
                <a:lnTo>
                  <a:pt x="991657" y="1815960"/>
                </a:lnTo>
                <a:lnTo>
                  <a:pt x="913937" y="1815960"/>
                </a:lnTo>
                <a:lnTo>
                  <a:pt x="913414" y="1815342"/>
                </a:lnTo>
                <a:lnTo>
                  <a:pt x="892701" y="1815342"/>
                </a:lnTo>
                <a:lnTo>
                  <a:pt x="891342" y="1813737"/>
                </a:lnTo>
                <a:cubicBezTo>
                  <a:pt x="809548" y="1718547"/>
                  <a:pt x="671454" y="1542550"/>
                  <a:pt x="665960" y="1433347"/>
                </a:cubicBezTo>
                <a:cubicBezTo>
                  <a:pt x="660544" y="1325841"/>
                  <a:pt x="698844" y="1252018"/>
                  <a:pt x="777659" y="1215575"/>
                </a:cubicBezTo>
                <a:lnTo>
                  <a:pt x="782871" y="1214227"/>
                </a:lnTo>
                <a:lnTo>
                  <a:pt x="798895" y="1202240"/>
                </a:lnTo>
                <a:lnTo>
                  <a:pt x="871960" y="1183344"/>
                </a:lnTo>
                <a:lnTo>
                  <a:pt x="881182" y="1146514"/>
                </a:lnTo>
                <a:cubicBezTo>
                  <a:pt x="896253" y="1103924"/>
                  <a:pt x="922419" y="1069317"/>
                  <a:pt x="958330" y="1043673"/>
                </a:cubicBezTo>
                <a:lnTo>
                  <a:pt x="973769" y="1036532"/>
                </a:lnTo>
                <a:lnTo>
                  <a:pt x="979565" y="1030285"/>
                </a:lnTo>
                <a:cubicBezTo>
                  <a:pt x="1027446" y="996086"/>
                  <a:pt x="1092650" y="977829"/>
                  <a:pt x="1171975" y="977829"/>
                </a:cubicBezTo>
                <a:cubicBezTo>
                  <a:pt x="1202779" y="977829"/>
                  <a:pt x="1233491" y="981378"/>
                  <a:pt x="1263909" y="988439"/>
                </a:cubicBezTo>
                <a:lnTo>
                  <a:pt x="1334979" y="1013404"/>
                </a:lnTo>
                <a:lnTo>
                  <a:pt x="1337911" y="985744"/>
                </a:lnTo>
                <a:cubicBezTo>
                  <a:pt x="1347167" y="956426"/>
                  <a:pt x="1367141" y="932624"/>
                  <a:pt x="1391583" y="917133"/>
                </a:cubicBezTo>
                <a:lnTo>
                  <a:pt x="1403456" y="912093"/>
                </a:lnTo>
                <a:lnTo>
                  <a:pt x="1412819" y="903711"/>
                </a:lnTo>
                <a:lnTo>
                  <a:pt x="1430815" y="896084"/>
                </a:lnTo>
                <a:lnTo>
                  <a:pt x="1430815" y="823562"/>
                </a:lnTo>
                <a:cubicBezTo>
                  <a:pt x="1430815" y="815475"/>
                  <a:pt x="1434102" y="808144"/>
                  <a:pt x="1439404" y="802835"/>
                </a:cubicBezTo>
                <a:lnTo>
                  <a:pt x="1458354" y="794955"/>
                </a:lnTo>
                <a:lnTo>
                  <a:pt x="1460640" y="789439"/>
                </a:lnTo>
                <a:cubicBezTo>
                  <a:pt x="1465941" y="784130"/>
                  <a:pt x="1473256" y="780843"/>
                  <a:pt x="1481312" y="780843"/>
                </a:cubicBezTo>
                <a:close/>
                <a:moveTo>
                  <a:pt x="1555329" y="706642"/>
                </a:moveTo>
                <a:lnTo>
                  <a:pt x="1654161" y="706642"/>
                </a:lnTo>
                <a:cubicBezTo>
                  <a:pt x="1670335" y="706642"/>
                  <a:pt x="1683483" y="719791"/>
                  <a:pt x="1683483" y="735965"/>
                </a:cubicBezTo>
                <a:lnTo>
                  <a:pt x="1680590" y="742940"/>
                </a:lnTo>
                <a:lnTo>
                  <a:pt x="1683483" y="749915"/>
                </a:lnTo>
                <a:cubicBezTo>
                  <a:pt x="1683483" y="766089"/>
                  <a:pt x="1670335" y="779238"/>
                  <a:pt x="1654161" y="779238"/>
                </a:cubicBezTo>
                <a:lnTo>
                  <a:pt x="1555329" y="779238"/>
                </a:lnTo>
                <a:lnTo>
                  <a:pt x="1553841" y="778621"/>
                </a:lnTo>
                <a:lnTo>
                  <a:pt x="1534093" y="778621"/>
                </a:lnTo>
                <a:cubicBezTo>
                  <a:pt x="1517919" y="778621"/>
                  <a:pt x="1504770" y="765472"/>
                  <a:pt x="1504770" y="749299"/>
                </a:cubicBezTo>
                <a:cubicBezTo>
                  <a:pt x="1504770" y="741212"/>
                  <a:pt x="1508057" y="733881"/>
                  <a:pt x="1513366" y="728572"/>
                </a:cubicBezTo>
                <a:lnTo>
                  <a:pt x="1532335" y="720705"/>
                </a:lnTo>
                <a:lnTo>
                  <a:pt x="1534602" y="715238"/>
                </a:lnTo>
                <a:cubicBezTo>
                  <a:pt x="1539911" y="709929"/>
                  <a:pt x="1547242" y="706642"/>
                  <a:pt x="1555329" y="706642"/>
                </a:cubicBezTo>
                <a:close/>
                <a:moveTo>
                  <a:pt x="1308526" y="706642"/>
                </a:moveTo>
                <a:lnTo>
                  <a:pt x="1407358" y="706642"/>
                </a:lnTo>
                <a:cubicBezTo>
                  <a:pt x="1423532" y="706642"/>
                  <a:pt x="1436680" y="719791"/>
                  <a:pt x="1436680" y="735965"/>
                </a:cubicBezTo>
                <a:lnTo>
                  <a:pt x="1433787" y="742940"/>
                </a:lnTo>
                <a:lnTo>
                  <a:pt x="1436680" y="749915"/>
                </a:lnTo>
                <a:cubicBezTo>
                  <a:pt x="1436680" y="766089"/>
                  <a:pt x="1423532" y="779238"/>
                  <a:pt x="1407358" y="779238"/>
                </a:cubicBezTo>
                <a:lnTo>
                  <a:pt x="1308526" y="779238"/>
                </a:lnTo>
                <a:lnTo>
                  <a:pt x="1307039" y="778621"/>
                </a:lnTo>
                <a:lnTo>
                  <a:pt x="1287290" y="778621"/>
                </a:lnTo>
                <a:cubicBezTo>
                  <a:pt x="1271116" y="778621"/>
                  <a:pt x="1257967" y="765472"/>
                  <a:pt x="1257967" y="749299"/>
                </a:cubicBezTo>
                <a:cubicBezTo>
                  <a:pt x="1257967" y="741212"/>
                  <a:pt x="1261254" y="733881"/>
                  <a:pt x="1266563" y="728572"/>
                </a:cubicBezTo>
                <a:lnTo>
                  <a:pt x="1285532" y="720705"/>
                </a:lnTo>
                <a:lnTo>
                  <a:pt x="1287799" y="715238"/>
                </a:lnTo>
                <a:cubicBezTo>
                  <a:pt x="1293108" y="709929"/>
                  <a:pt x="1300439" y="706642"/>
                  <a:pt x="1308526" y="706642"/>
                </a:cubicBezTo>
                <a:close/>
                <a:moveTo>
                  <a:pt x="1481313" y="533608"/>
                </a:moveTo>
                <a:cubicBezTo>
                  <a:pt x="1497486" y="533608"/>
                  <a:pt x="1510635" y="546757"/>
                  <a:pt x="1510635" y="562931"/>
                </a:cubicBezTo>
                <a:lnTo>
                  <a:pt x="1510635" y="576882"/>
                </a:lnTo>
                <a:lnTo>
                  <a:pt x="1510635" y="661639"/>
                </a:lnTo>
                <a:lnTo>
                  <a:pt x="1510635" y="675590"/>
                </a:lnTo>
                <a:cubicBezTo>
                  <a:pt x="1510635" y="691764"/>
                  <a:pt x="1497486" y="704913"/>
                  <a:pt x="1481313" y="704913"/>
                </a:cubicBezTo>
                <a:lnTo>
                  <a:pt x="1469951" y="700201"/>
                </a:lnTo>
                <a:lnTo>
                  <a:pt x="1460077" y="704296"/>
                </a:lnTo>
                <a:cubicBezTo>
                  <a:pt x="1443903" y="704296"/>
                  <a:pt x="1430754" y="691147"/>
                  <a:pt x="1430754" y="674973"/>
                </a:cubicBezTo>
                <a:lnTo>
                  <a:pt x="1430754" y="576265"/>
                </a:lnTo>
                <a:cubicBezTo>
                  <a:pt x="1430754" y="568178"/>
                  <a:pt x="1434041" y="560847"/>
                  <a:pt x="1439350" y="555538"/>
                </a:cubicBezTo>
                <a:lnTo>
                  <a:pt x="1458319" y="547671"/>
                </a:lnTo>
                <a:lnTo>
                  <a:pt x="1460586" y="542204"/>
                </a:lnTo>
                <a:cubicBezTo>
                  <a:pt x="1465895" y="536895"/>
                  <a:pt x="1473226" y="533608"/>
                  <a:pt x="1481313" y="533608"/>
                </a:cubicBezTo>
                <a:close/>
                <a:moveTo>
                  <a:pt x="1460077" y="74078"/>
                </a:moveTo>
                <a:cubicBezTo>
                  <a:pt x="1089872" y="74078"/>
                  <a:pt x="741829" y="218221"/>
                  <a:pt x="480025" y="480025"/>
                </a:cubicBezTo>
                <a:cubicBezTo>
                  <a:pt x="218283" y="741829"/>
                  <a:pt x="74078" y="1089872"/>
                  <a:pt x="74078" y="1460139"/>
                </a:cubicBezTo>
                <a:cubicBezTo>
                  <a:pt x="74078" y="1830405"/>
                  <a:pt x="218221" y="2178386"/>
                  <a:pt x="480025" y="2440190"/>
                </a:cubicBezTo>
                <a:cubicBezTo>
                  <a:pt x="741829" y="2701933"/>
                  <a:pt x="1089872" y="2846138"/>
                  <a:pt x="1460077" y="2846138"/>
                </a:cubicBezTo>
                <a:cubicBezTo>
                  <a:pt x="1830282" y="2846138"/>
                  <a:pt x="2178325" y="2701994"/>
                  <a:pt x="2440129" y="2440190"/>
                </a:cubicBezTo>
                <a:cubicBezTo>
                  <a:pt x="2701933" y="2178386"/>
                  <a:pt x="2846076" y="1830344"/>
                  <a:pt x="2846076" y="1460139"/>
                </a:cubicBezTo>
                <a:cubicBezTo>
                  <a:pt x="2846076" y="1089934"/>
                  <a:pt x="2701933" y="741829"/>
                  <a:pt x="2440129" y="480087"/>
                </a:cubicBezTo>
                <a:cubicBezTo>
                  <a:pt x="2178325" y="218345"/>
                  <a:pt x="1830282" y="74078"/>
                  <a:pt x="1460077" y="74078"/>
                </a:cubicBezTo>
                <a:close/>
                <a:moveTo>
                  <a:pt x="1460077" y="0"/>
                </a:moveTo>
                <a:cubicBezTo>
                  <a:pt x="1850098" y="0"/>
                  <a:pt x="2216722" y="151860"/>
                  <a:pt x="2492477" y="427677"/>
                </a:cubicBezTo>
                <a:cubicBezTo>
                  <a:pt x="2768232" y="703494"/>
                  <a:pt x="2920154" y="1070118"/>
                  <a:pt x="2920154" y="1460139"/>
                </a:cubicBezTo>
                <a:cubicBezTo>
                  <a:pt x="2920154" y="1850159"/>
                  <a:pt x="2768294" y="2216784"/>
                  <a:pt x="2492477" y="2492601"/>
                </a:cubicBezTo>
                <a:cubicBezTo>
                  <a:pt x="2216722" y="2768356"/>
                  <a:pt x="1850036" y="2920216"/>
                  <a:pt x="1460077" y="2920216"/>
                </a:cubicBezTo>
                <a:lnTo>
                  <a:pt x="1460077" y="2920154"/>
                </a:lnTo>
                <a:cubicBezTo>
                  <a:pt x="1070056" y="2920154"/>
                  <a:pt x="703432" y="2768294"/>
                  <a:pt x="427615" y="2492539"/>
                </a:cubicBezTo>
                <a:cubicBezTo>
                  <a:pt x="151860" y="2216784"/>
                  <a:pt x="0" y="1850098"/>
                  <a:pt x="0" y="1460139"/>
                </a:cubicBezTo>
                <a:cubicBezTo>
                  <a:pt x="0" y="1070180"/>
                  <a:pt x="151860" y="703432"/>
                  <a:pt x="427677" y="427677"/>
                </a:cubicBezTo>
                <a:cubicBezTo>
                  <a:pt x="703432" y="151922"/>
                  <a:pt x="1070056" y="0"/>
                  <a:pt x="1460077" y="0"/>
                </a:cubicBezTo>
                <a:close/>
              </a:path>
            </a:pathLst>
          </a:custGeom>
          <a:solidFill>
            <a:srgbClr val="FFFFFF"/>
          </a:solidFill>
          <a:ln w="0" cap="flat">
            <a:noFill/>
            <a:prstDash val="solid"/>
            <a:miter/>
          </a:ln>
        </p:spPr>
        <p:txBody>
          <a:bodyPr rtlCol="0" anchor="ctr"/>
          <a:lstStyle/>
          <a:p>
            <a:endParaRPr lang="da-DK" sz="1200" dirty="0"/>
          </a:p>
        </p:txBody>
      </p:sp>
      <p:sp>
        <p:nvSpPr>
          <p:cNvPr id="9" name="Freeform: Shape 8">
            <a:extLst>
              <a:ext uri="{FF2B5EF4-FFF2-40B4-BE49-F238E27FC236}">
                <a16:creationId xmlns:a16="http://schemas.microsoft.com/office/drawing/2014/main" id="{B23BEC87-B1BE-478F-F2EA-B5E12E2748BB}"/>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38167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DFI_Forside_Simpel">
    <p:spTree>
      <p:nvGrpSpPr>
        <p:cNvPr id="1" name=""/>
        <p:cNvGrpSpPr/>
        <p:nvPr/>
      </p:nvGrpSpPr>
      <p:grpSpPr>
        <a:xfrm>
          <a:off x="0" y="0"/>
          <a:ext cx="0" cy="0"/>
          <a:chOff x="0" y="0"/>
          <a:chExt cx="0" cy="0"/>
        </a:xfrm>
      </p:grpSpPr>
      <p:sp>
        <p:nvSpPr>
          <p:cNvPr id="3" name="Pladsholder til tekst 16">
            <a:extLst>
              <a:ext uri="{FF2B5EF4-FFF2-40B4-BE49-F238E27FC236}">
                <a16:creationId xmlns:a16="http://schemas.microsoft.com/office/drawing/2014/main" id="{52206F27-7386-DD55-D7E9-52C3F0D0B171}"/>
              </a:ext>
            </a:extLst>
          </p:cNvPr>
          <p:cNvSpPr>
            <a:spLocks noGrp="1"/>
          </p:cNvSpPr>
          <p:nvPr>
            <p:ph type="body" sz="quarter" idx="11" hasCustomPrompt="1"/>
          </p:nvPr>
        </p:nvSpPr>
        <p:spPr>
          <a:xfrm>
            <a:off x="934139" y="3357159"/>
            <a:ext cx="5855997" cy="360040"/>
          </a:xfrm>
          <a:prstGeom prst="rect">
            <a:avLst/>
          </a:prstGeom>
          <a:effectLst>
            <a:softEdge rad="0"/>
          </a:effectLst>
        </p:spPr>
        <p:txBody>
          <a:bodyPr lIns="0" rIns="0" anchor="t">
            <a:noAutofit/>
          </a:bodyPr>
          <a:lstStyle>
            <a:lvl1pPr marL="0" indent="0" algn="l">
              <a:buNone/>
              <a:defRPr sz="1650" b="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Klik her for at tilføje en underoverskrift</a:t>
            </a:r>
          </a:p>
        </p:txBody>
      </p:sp>
      <p:sp>
        <p:nvSpPr>
          <p:cNvPr id="4" name="Pladsholder til dato 14">
            <a:extLst>
              <a:ext uri="{FF2B5EF4-FFF2-40B4-BE49-F238E27FC236}">
                <a16:creationId xmlns:a16="http://schemas.microsoft.com/office/drawing/2014/main" id="{35F70552-0DB9-2B75-FF43-02F74906172C}"/>
              </a:ext>
            </a:extLst>
          </p:cNvPr>
          <p:cNvSpPr>
            <a:spLocks noGrp="1"/>
          </p:cNvSpPr>
          <p:nvPr>
            <p:ph type="dt" sz="half" idx="13"/>
          </p:nvPr>
        </p:nvSpPr>
        <p:spPr>
          <a:xfrm>
            <a:off x="934138" y="4029912"/>
            <a:ext cx="1418537" cy="273844"/>
          </a:xfrm>
          <a:prstGeom prst="rect">
            <a:avLst/>
          </a:prstGeom>
        </p:spPr>
        <p:txBody>
          <a:bodyPr lIns="0" rIns="0"/>
          <a:lstStyle>
            <a:lvl1pPr algn="l">
              <a:defRPr sz="75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fld id="{5A59C4BB-6696-45F4-B782-06902E98EA55}" type="datetime2">
              <a:rPr lang="da-DK" smtClean="0"/>
              <a:t>17. september 2025</a:t>
            </a:fld>
            <a:endParaRPr lang="da-DK" dirty="0"/>
          </a:p>
        </p:txBody>
      </p:sp>
      <p:sp>
        <p:nvSpPr>
          <p:cNvPr id="5" name="Pladsholder til tekst 16">
            <a:extLst>
              <a:ext uri="{FF2B5EF4-FFF2-40B4-BE49-F238E27FC236}">
                <a16:creationId xmlns:a16="http://schemas.microsoft.com/office/drawing/2014/main" id="{0968F42A-903C-C97B-E04F-E9C8A8C3FC62}"/>
              </a:ext>
            </a:extLst>
          </p:cNvPr>
          <p:cNvSpPr>
            <a:spLocks noGrp="1"/>
          </p:cNvSpPr>
          <p:nvPr>
            <p:ph type="body" sz="quarter" idx="10" hasCustomPrompt="1"/>
          </p:nvPr>
        </p:nvSpPr>
        <p:spPr>
          <a:xfrm>
            <a:off x="934138" y="2067694"/>
            <a:ext cx="7087103" cy="1205443"/>
          </a:xfrm>
          <a:prstGeom prst="rect">
            <a:avLst/>
          </a:prstGeom>
          <a:effectLst>
            <a:softEdge rad="0"/>
          </a:effectLst>
        </p:spPr>
        <p:txBody>
          <a:bodyPr lIns="0" anchor="t" anchorCtr="0">
            <a:noAutofit/>
          </a:bodyPr>
          <a:lstStyle>
            <a:lvl1pPr marL="0" indent="0" algn="l">
              <a:spcBef>
                <a:spcPts val="0"/>
              </a:spcBef>
              <a:spcAft>
                <a:spcPts val="0"/>
              </a:spcAft>
              <a:buNone/>
              <a:defRPr sz="3450" b="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Klik her for at tilføje den primære overskrift på max to linjer</a:t>
            </a:r>
          </a:p>
        </p:txBody>
      </p:sp>
      <p:grpSp>
        <p:nvGrpSpPr>
          <p:cNvPr id="49" name="Group 48">
            <a:extLst>
              <a:ext uri="{FF2B5EF4-FFF2-40B4-BE49-F238E27FC236}">
                <a16:creationId xmlns:a16="http://schemas.microsoft.com/office/drawing/2014/main" id="{2D3C0EB3-F3C9-08BD-2E0A-C7253583E503}"/>
              </a:ext>
            </a:extLst>
          </p:cNvPr>
          <p:cNvGrpSpPr/>
          <p:nvPr userDrawn="1"/>
        </p:nvGrpSpPr>
        <p:grpSpPr>
          <a:xfrm>
            <a:off x="934138" y="780066"/>
            <a:ext cx="1139348" cy="1139348"/>
            <a:chOff x="2906075" y="-216313"/>
            <a:chExt cx="2846075" cy="2846075"/>
          </a:xfrm>
        </p:grpSpPr>
        <p:sp>
          <p:nvSpPr>
            <p:cNvPr id="13" name="Freeform: Shape 12">
              <a:extLst>
                <a:ext uri="{FF2B5EF4-FFF2-40B4-BE49-F238E27FC236}">
                  <a16:creationId xmlns:a16="http://schemas.microsoft.com/office/drawing/2014/main" id="{90DD8042-D345-D4ED-FC46-E39A1050FE45}"/>
                </a:ext>
              </a:extLst>
            </p:cNvPr>
            <p:cNvSpPr/>
            <p:nvPr/>
          </p:nvSpPr>
          <p:spPr>
            <a:xfrm>
              <a:off x="3534493" y="554777"/>
              <a:ext cx="1589301" cy="1021226"/>
            </a:xfrm>
            <a:custGeom>
              <a:avLst/>
              <a:gdLst>
                <a:gd name="connsiteX0" fmla="*/ 1384836 w 1589301"/>
                <a:gd name="connsiteY0" fmla="*/ 397552 h 1021226"/>
                <a:gd name="connsiteX1" fmla="*/ 1103957 w 1589301"/>
                <a:gd name="connsiteY1" fmla="*/ 196986 h 1021226"/>
                <a:gd name="connsiteX2" fmla="*/ 921849 w 1589301"/>
                <a:gd name="connsiteY2" fmla="*/ 239272 h 1021226"/>
                <a:gd name="connsiteX3" fmla="*/ 823881 w 1589301"/>
                <a:gd name="connsiteY3" fmla="*/ 106240 h 1021226"/>
                <a:gd name="connsiteX4" fmla="*/ 823881 w 1589301"/>
                <a:gd name="connsiteY4" fmla="*/ 29323 h 1021226"/>
                <a:gd name="connsiteX5" fmla="*/ 794620 w 1589301"/>
                <a:gd name="connsiteY5" fmla="*/ 0 h 1021226"/>
                <a:gd name="connsiteX6" fmla="*/ 765359 w 1589301"/>
                <a:gd name="connsiteY6" fmla="*/ 29323 h 1021226"/>
                <a:gd name="connsiteX7" fmla="*/ 765359 w 1589301"/>
                <a:gd name="connsiteY7" fmla="*/ 106240 h 1021226"/>
                <a:gd name="connsiteX8" fmla="*/ 667391 w 1589301"/>
                <a:gd name="connsiteY8" fmla="*/ 239272 h 1021226"/>
                <a:gd name="connsiteX9" fmla="*/ 485283 w 1589301"/>
                <a:gd name="connsiteY9" fmla="*/ 196986 h 1021226"/>
                <a:gd name="connsiteX10" fmla="*/ 204404 w 1589301"/>
                <a:gd name="connsiteY10" fmla="*/ 397552 h 1021226"/>
                <a:gd name="connsiteX11" fmla="*/ 504 w 1589301"/>
                <a:gd name="connsiteY11" fmla="*/ 639170 h 1021226"/>
                <a:gd name="connsiteX12" fmla="*/ 225886 w 1589301"/>
                <a:gd name="connsiteY12" fmla="*/ 1019560 h 1021226"/>
                <a:gd name="connsiteX13" fmla="*/ 227245 w 1589301"/>
                <a:gd name="connsiteY13" fmla="*/ 1021165 h 1021226"/>
                <a:gd name="connsiteX14" fmla="*/ 304965 w 1589301"/>
                <a:gd name="connsiteY14" fmla="*/ 1021165 h 1021226"/>
                <a:gd name="connsiteX15" fmla="*/ 298051 w 1589301"/>
                <a:gd name="connsiteY15" fmla="*/ 1013449 h 1021226"/>
                <a:gd name="connsiteX16" fmla="*/ 141437 w 1589301"/>
                <a:gd name="connsiteY16" fmla="*/ 814364 h 1021226"/>
                <a:gd name="connsiteX17" fmla="*/ 58964 w 1589301"/>
                <a:gd name="connsiteY17" fmla="*/ 636206 h 1021226"/>
                <a:gd name="connsiteX18" fmla="*/ 96497 w 1589301"/>
                <a:gd name="connsiteY18" fmla="*/ 502002 h 1021226"/>
                <a:gd name="connsiteX19" fmla="*/ 199218 w 1589301"/>
                <a:gd name="connsiteY19" fmla="*/ 456999 h 1021226"/>
                <a:gd name="connsiteX20" fmla="*/ 199218 w 1589301"/>
                <a:gd name="connsiteY20" fmla="*/ 459222 h 1021226"/>
                <a:gd name="connsiteX21" fmla="*/ 199836 w 1589301"/>
                <a:gd name="connsiteY21" fmla="*/ 493853 h 1021226"/>
                <a:gd name="connsiteX22" fmla="*/ 278852 w 1589301"/>
                <a:gd name="connsiteY22" fmla="*/ 708062 h 1021226"/>
                <a:gd name="connsiteX23" fmla="*/ 487382 w 1589301"/>
                <a:gd name="connsiteY23" fmla="*/ 1019375 h 1021226"/>
                <a:gd name="connsiteX24" fmla="*/ 488801 w 1589301"/>
                <a:gd name="connsiteY24" fmla="*/ 1021165 h 1021226"/>
                <a:gd name="connsiteX25" fmla="*/ 562941 w 1589301"/>
                <a:gd name="connsiteY25" fmla="*/ 1021165 h 1021226"/>
                <a:gd name="connsiteX26" fmla="*/ 556830 w 1589301"/>
                <a:gd name="connsiteY26" fmla="*/ 1013634 h 1021226"/>
                <a:gd name="connsiteX27" fmla="*/ 258357 w 1589301"/>
                <a:gd name="connsiteY27" fmla="*/ 489409 h 1021226"/>
                <a:gd name="connsiteX28" fmla="*/ 299285 w 1589301"/>
                <a:gd name="connsiteY28" fmla="*/ 324338 h 1021226"/>
                <a:gd name="connsiteX29" fmla="*/ 485345 w 1589301"/>
                <a:gd name="connsiteY29" fmla="*/ 255631 h 1021226"/>
                <a:gd name="connsiteX30" fmla="*/ 765421 w 1589301"/>
                <a:gd name="connsiteY30" fmla="*/ 380452 h 1021226"/>
                <a:gd name="connsiteX31" fmla="*/ 765421 w 1589301"/>
                <a:gd name="connsiteY31" fmla="*/ 1021227 h 1021226"/>
                <a:gd name="connsiteX32" fmla="*/ 824004 w 1589301"/>
                <a:gd name="connsiteY32" fmla="*/ 1021227 h 1021226"/>
                <a:gd name="connsiteX33" fmla="*/ 824004 w 1589301"/>
                <a:gd name="connsiteY33" fmla="*/ 380452 h 1021226"/>
                <a:gd name="connsiteX34" fmla="*/ 1104081 w 1589301"/>
                <a:gd name="connsiteY34" fmla="*/ 255631 h 1021226"/>
                <a:gd name="connsiteX35" fmla="*/ 1290078 w 1589301"/>
                <a:gd name="connsiteY35" fmla="*/ 324276 h 1021226"/>
                <a:gd name="connsiteX36" fmla="*/ 1330945 w 1589301"/>
                <a:gd name="connsiteY36" fmla="*/ 489779 h 1021226"/>
                <a:gd name="connsiteX37" fmla="*/ 1032534 w 1589301"/>
                <a:gd name="connsiteY37" fmla="*/ 1013634 h 1021226"/>
                <a:gd name="connsiteX38" fmla="*/ 1026422 w 1589301"/>
                <a:gd name="connsiteY38" fmla="*/ 1021165 h 1021226"/>
                <a:gd name="connsiteX39" fmla="*/ 1100562 w 1589301"/>
                <a:gd name="connsiteY39" fmla="*/ 1021165 h 1021226"/>
                <a:gd name="connsiteX40" fmla="*/ 1101982 w 1589301"/>
                <a:gd name="connsiteY40" fmla="*/ 1019375 h 1021226"/>
                <a:gd name="connsiteX41" fmla="*/ 1310450 w 1589301"/>
                <a:gd name="connsiteY41" fmla="*/ 708062 h 1021226"/>
                <a:gd name="connsiteX42" fmla="*/ 1389528 w 1589301"/>
                <a:gd name="connsiteY42" fmla="*/ 493853 h 1021226"/>
                <a:gd name="connsiteX43" fmla="*/ 1390145 w 1589301"/>
                <a:gd name="connsiteY43" fmla="*/ 459160 h 1021226"/>
                <a:gd name="connsiteX44" fmla="*/ 1390145 w 1589301"/>
                <a:gd name="connsiteY44" fmla="*/ 456999 h 1021226"/>
                <a:gd name="connsiteX45" fmla="*/ 1492805 w 1589301"/>
                <a:gd name="connsiteY45" fmla="*/ 502002 h 1021226"/>
                <a:gd name="connsiteX46" fmla="*/ 1530400 w 1589301"/>
                <a:gd name="connsiteY46" fmla="*/ 636206 h 1021226"/>
                <a:gd name="connsiteX47" fmla="*/ 1447864 w 1589301"/>
                <a:gd name="connsiteY47" fmla="*/ 814364 h 1021226"/>
                <a:gd name="connsiteX48" fmla="*/ 1291251 w 1589301"/>
                <a:gd name="connsiteY48" fmla="*/ 1013449 h 1021226"/>
                <a:gd name="connsiteX49" fmla="*/ 1284337 w 1589301"/>
                <a:gd name="connsiteY49" fmla="*/ 1021165 h 1021226"/>
                <a:gd name="connsiteX50" fmla="*/ 1362057 w 1589301"/>
                <a:gd name="connsiteY50" fmla="*/ 1021165 h 1021226"/>
                <a:gd name="connsiteX51" fmla="*/ 1363416 w 1589301"/>
                <a:gd name="connsiteY51" fmla="*/ 1019560 h 1021226"/>
                <a:gd name="connsiteX52" fmla="*/ 1588798 w 1589301"/>
                <a:gd name="connsiteY52" fmla="*/ 639170 h 1021226"/>
                <a:gd name="connsiteX53" fmla="*/ 1384898 w 1589301"/>
                <a:gd name="connsiteY53" fmla="*/ 397552 h 1021226"/>
                <a:gd name="connsiteX54" fmla="*/ 1384836 w 1589301"/>
                <a:gd name="connsiteY54" fmla="*/ 397552 h 1021226"/>
                <a:gd name="connsiteX55" fmla="*/ 868142 w 1589301"/>
                <a:gd name="connsiteY55" fmla="*/ 231000 h 1021226"/>
                <a:gd name="connsiteX56" fmla="*/ 794744 w 1589301"/>
                <a:gd name="connsiteY56" fmla="*/ 304522 h 1021226"/>
                <a:gd name="connsiteX57" fmla="*/ 721345 w 1589301"/>
                <a:gd name="connsiteY57" fmla="*/ 231000 h 1021226"/>
                <a:gd name="connsiteX58" fmla="*/ 794744 w 1589301"/>
                <a:gd name="connsiteY58" fmla="*/ 157478 h 1021226"/>
                <a:gd name="connsiteX59" fmla="*/ 868142 w 1589301"/>
                <a:gd name="connsiteY59" fmla="*/ 231000 h 102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89301" h="1021226">
                  <a:moveTo>
                    <a:pt x="1384836" y="397552"/>
                  </a:moveTo>
                  <a:cubicBezTo>
                    <a:pt x="1364774" y="270076"/>
                    <a:pt x="1262608" y="196986"/>
                    <a:pt x="1103957" y="196986"/>
                  </a:cubicBezTo>
                  <a:cubicBezTo>
                    <a:pt x="1042349" y="196986"/>
                    <a:pt x="981111" y="211184"/>
                    <a:pt x="921849" y="239272"/>
                  </a:cubicBezTo>
                  <a:cubicBezTo>
                    <a:pt x="927899" y="171058"/>
                    <a:pt x="878575" y="119204"/>
                    <a:pt x="823881" y="106240"/>
                  </a:cubicBezTo>
                  <a:lnTo>
                    <a:pt x="823881" y="29323"/>
                  </a:lnTo>
                  <a:cubicBezTo>
                    <a:pt x="823881" y="13149"/>
                    <a:pt x="810732" y="0"/>
                    <a:pt x="794620" y="0"/>
                  </a:cubicBezTo>
                  <a:cubicBezTo>
                    <a:pt x="778508" y="0"/>
                    <a:pt x="765359" y="13149"/>
                    <a:pt x="765359" y="29323"/>
                  </a:cubicBezTo>
                  <a:lnTo>
                    <a:pt x="765359" y="106240"/>
                  </a:lnTo>
                  <a:cubicBezTo>
                    <a:pt x="710665" y="119142"/>
                    <a:pt x="661341" y="170997"/>
                    <a:pt x="667391" y="239272"/>
                  </a:cubicBezTo>
                  <a:cubicBezTo>
                    <a:pt x="608129" y="211184"/>
                    <a:pt x="546891" y="196986"/>
                    <a:pt x="485283" y="196986"/>
                  </a:cubicBezTo>
                  <a:cubicBezTo>
                    <a:pt x="326632" y="196986"/>
                    <a:pt x="224467" y="270014"/>
                    <a:pt x="204404" y="397552"/>
                  </a:cubicBezTo>
                  <a:cubicBezTo>
                    <a:pt x="63779" y="412367"/>
                    <a:pt x="-6718" y="495829"/>
                    <a:pt x="504" y="639170"/>
                  </a:cubicBezTo>
                  <a:cubicBezTo>
                    <a:pt x="5998" y="748373"/>
                    <a:pt x="144030" y="924370"/>
                    <a:pt x="225886" y="1019560"/>
                  </a:cubicBezTo>
                  <a:lnTo>
                    <a:pt x="227245" y="1021165"/>
                  </a:lnTo>
                  <a:lnTo>
                    <a:pt x="304965" y="1021165"/>
                  </a:lnTo>
                  <a:lnTo>
                    <a:pt x="298051" y="1013449"/>
                  </a:lnTo>
                  <a:cubicBezTo>
                    <a:pt x="239900" y="948630"/>
                    <a:pt x="182859" y="876034"/>
                    <a:pt x="141437" y="814364"/>
                  </a:cubicBezTo>
                  <a:cubicBezTo>
                    <a:pt x="89398" y="736829"/>
                    <a:pt x="60878" y="675221"/>
                    <a:pt x="58964" y="636206"/>
                  </a:cubicBezTo>
                  <a:cubicBezTo>
                    <a:pt x="56001" y="576574"/>
                    <a:pt x="68594" y="531386"/>
                    <a:pt x="96497" y="502002"/>
                  </a:cubicBezTo>
                  <a:cubicBezTo>
                    <a:pt x="118720" y="478544"/>
                    <a:pt x="153290" y="463420"/>
                    <a:pt x="199218" y="456999"/>
                  </a:cubicBezTo>
                  <a:lnTo>
                    <a:pt x="199218" y="459222"/>
                  </a:lnTo>
                  <a:cubicBezTo>
                    <a:pt x="198971" y="470210"/>
                    <a:pt x="198724" y="481569"/>
                    <a:pt x="199836" y="493853"/>
                  </a:cubicBezTo>
                  <a:cubicBezTo>
                    <a:pt x="204651" y="548239"/>
                    <a:pt x="231257" y="620341"/>
                    <a:pt x="278852" y="708062"/>
                  </a:cubicBezTo>
                  <a:cubicBezTo>
                    <a:pt x="302063" y="750780"/>
                    <a:pt x="368795" y="866651"/>
                    <a:pt x="487382" y="1019375"/>
                  </a:cubicBezTo>
                  <a:lnTo>
                    <a:pt x="488801" y="1021165"/>
                  </a:lnTo>
                  <a:lnTo>
                    <a:pt x="562941" y="1021165"/>
                  </a:lnTo>
                  <a:lnTo>
                    <a:pt x="556830" y="1013634"/>
                  </a:lnTo>
                  <a:cubicBezTo>
                    <a:pt x="554052" y="1010177"/>
                    <a:pt x="276012" y="666208"/>
                    <a:pt x="258357" y="489409"/>
                  </a:cubicBezTo>
                  <a:cubicBezTo>
                    <a:pt x="257678" y="485458"/>
                    <a:pt x="242554" y="391440"/>
                    <a:pt x="299285" y="324338"/>
                  </a:cubicBezTo>
                  <a:cubicBezTo>
                    <a:pt x="337806" y="278780"/>
                    <a:pt x="400402" y="255631"/>
                    <a:pt x="485345" y="255631"/>
                  </a:cubicBezTo>
                  <a:cubicBezTo>
                    <a:pt x="644921" y="255631"/>
                    <a:pt x="753198" y="367242"/>
                    <a:pt x="765421" y="380452"/>
                  </a:cubicBezTo>
                  <a:lnTo>
                    <a:pt x="765421" y="1021227"/>
                  </a:lnTo>
                  <a:lnTo>
                    <a:pt x="824004" y="1021227"/>
                  </a:lnTo>
                  <a:lnTo>
                    <a:pt x="824004" y="380452"/>
                  </a:lnTo>
                  <a:cubicBezTo>
                    <a:pt x="836227" y="367242"/>
                    <a:pt x="944504" y="255631"/>
                    <a:pt x="1104081" y="255631"/>
                  </a:cubicBezTo>
                  <a:cubicBezTo>
                    <a:pt x="1188962" y="255631"/>
                    <a:pt x="1251558" y="278718"/>
                    <a:pt x="1290078" y="324276"/>
                  </a:cubicBezTo>
                  <a:cubicBezTo>
                    <a:pt x="1346810" y="391317"/>
                    <a:pt x="1331685" y="485458"/>
                    <a:pt x="1330945" y="489779"/>
                  </a:cubicBezTo>
                  <a:cubicBezTo>
                    <a:pt x="1313351" y="666146"/>
                    <a:pt x="1035373" y="1010177"/>
                    <a:pt x="1032534" y="1013634"/>
                  </a:cubicBezTo>
                  <a:lnTo>
                    <a:pt x="1026422" y="1021165"/>
                  </a:lnTo>
                  <a:lnTo>
                    <a:pt x="1100562" y="1021165"/>
                  </a:lnTo>
                  <a:lnTo>
                    <a:pt x="1101982" y="1019375"/>
                  </a:lnTo>
                  <a:cubicBezTo>
                    <a:pt x="1220507" y="866651"/>
                    <a:pt x="1287300" y="750780"/>
                    <a:pt x="1310450" y="708062"/>
                  </a:cubicBezTo>
                  <a:cubicBezTo>
                    <a:pt x="1358045" y="620341"/>
                    <a:pt x="1384651" y="548301"/>
                    <a:pt x="1389528" y="493853"/>
                  </a:cubicBezTo>
                  <a:cubicBezTo>
                    <a:pt x="1390639" y="481569"/>
                    <a:pt x="1390392" y="470210"/>
                    <a:pt x="1390145" y="459160"/>
                  </a:cubicBezTo>
                  <a:lnTo>
                    <a:pt x="1390145" y="456999"/>
                  </a:lnTo>
                  <a:cubicBezTo>
                    <a:pt x="1436012" y="463420"/>
                    <a:pt x="1470582" y="478544"/>
                    <a:pt x="1492805" y="502002"/>
                  </a:cubicBezTo>
                  <a:cubicBezTo>
                    <a:pt x="1520708" y="531386"/>
                    <a:pt x="1533363" y="576574"/>
                    <a:pt x="1530400" y="636206"/>
                  </a:cubicBezTo>
                  <a:cubicBezTo>
                    <a:pt x="1528424" y="675221"/>
                    <a:pt x="1499904" y="736829"/>
                    <a:pt x="1447864" y="814364"/>
                  </a:cubicBezTo>
                  <a:cubicBezTo>
                    <a:pt x="1406443" y="876034"/>
                    <a:pt x="1349402" y="948630"/>
                    <a:pt x="1291251" y="1013449"/>
                  </a:cubicBezTo>
                  <a:lnTo>
                    <a:pt x="1284337" y="1021165"/>
                  </a:lnTo>
                  <a:lnTo>
                    <a:pt x="1362057" y="1021165"/>
                  </a:lnTo>
                  <a:lnTo>
                    <a:pt x="1363416" y="1019560"/>
                  </a:lnTo>
                  <a:cubicBezTo>
                    <a:pt x="1445210" y="924370"/>
                    <a:pt x="1583304" y="748373"/>
                    <a:pt x="1588798" y="639170"/>
                  </a:cubicBezTo>
                  <a:cubicBezTo>
                    <a:pt x="1596020" y="495829"/>
                    <a:pt x="1525523" y="412367"/>
                    <a:pt x="1384898" y="397552"/>
                  </a:cubicBezTo>
                  <a:lnTo>
                    <a:pt x="1384836" y="397552"/>
                  </a:lnTo>
                  <a:close/>
                  <a:moveTo>
                    <a:pt x="868142" y="231000"/>
                  </a:moveTo>
                  <a:cubicBezTo>
                    <a:pt x="868142" y="271558"/>
                    <a:pt x="835239" y="304522"/>
                    <a:pt x="794744" y="304522"/>
                  </a:cubicBezTo>
                  <a:cubicBezTo>
                    <a:pt x="754248" y="304522"/>
                    <a:pt x="721345" y="271558"/>
                    <a:pt x="721345" y="231000"/>
                  </a:cubicBezTo>
                  <a:cubicBezTo>
                    <a:pt x="721345" y="190442"/>
                    <a:pt x="754248" y="157478"/>
                    <a:pt x="794744" y="157478"/>
                  </a:cubicBezTo>
                  <a:cubicBezTo>
                    <a:pt x="835239" y="157478"/>
                    <a:pt x="868142" y="190442"/>
                    <a:pt x="868142" y="231000"/>
                  </a:cubicBezTo>
                  <a:close/>
                </a:path>
              </a:pathLst>
            </a:custGeom>
            <a:solidFill>
              <a:srgbClr val="FFFFFF"/>
            </a:solidFill>
            <a:ln w="0" cap="flat">
              <a:noFill/>
              <a:prstDash val="solid"/>
              <a:miter/>
            </a:ln>
          </p:spPr>
          <p:txBody>
            <a:bodyPr rtlCol="0" anchor="ctr"/>
            <a:lstStyle/>
            <a:p>
              <a:endParaRPr lang="da-DK" sz="1200" dirty="0"/>
            </a:p>
          </p:txBody>
        </p:sp>
        <p:sp>
          <p:nvSpPr>
            <p:cNvPr id="14" name="Freeform: Shape 13">
              <a:extLst>
                <a:ext uri="{FF2B5EF4-FFF2-40B4-BE49-F238E27FC236}">
                  <a16:creationId xmlns:a16="http://schemas.microsoft.com/office/drawing/2014/main" id="{18018008-5AF4-4C03-A05C-B751D80482C1}"/>
                </a:ext>
              </a:extLst>
            </p:cNvPr>
            <p:cNvSpPr/>
            <p:nvPr/>
          </p:nvSpPr>
          <p:spPr>
            <a:xfrm>
              <a:off x="4299791" y="307541"/>
              <a:ext cx="58645" cy="157353"/>
            </a:xfrm>
            <a:custGeom>
              <a:avLst/>
              <a:gdLst>
                <a:gd name="connsiteX0" fmla="*/ 29323 w 58645"/>
                <a:gd name="connsiteY0" fmla="*/ 157354 h 157353"/>
                <a:gd name="connsiteX1" fmla="*/ 58645 w 58645"/>
                <a:gd name="connsiteY1" fmla="*/ 128031 h 157353"/>
                <a:gd name="connsiteX2" fmla="*/ 58645 w 58645"/>
                <a:gd name="connsiteY2" fmla="*/ 29323 h 157353"/>
                <a:gd name="connsiteX3" fmla="*/ 29323 w 58645"/>
                <a:gd name="connsiteY3" fmla="*/ 0 h 157353"/>
                <a:gd name="connsiteX4" fmla="*/ 0 w 58645"/>
                <a:gd name="connsiteY4" fmla="*/ 29323 h 157353"/>
                <a:gd name="connsiteX5" fmla="*/ 0 w 58645"/>
                <a:gd name="connsiteY5" fmla="*/ 128031 h 157353"/>
                <a:gd name="connsiteX6" fmla="*/ 29323 w 58645"/>
                <a:gd name="connsiteY6" fmla="*/ 157354 h 15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5" h="157353">
                  <a:moveTo>
                    <a:pt x="29323" y="157354"/>
                  </a:moveTo>
                  <a:cubicBezTo>
                    <a:pt x="45496" y="157354"/>
                    <a:pt x="58645" y="144205"/>
                    <a:pt x="58645" y="128031"/>
                  </a:cubicBezTo>
                  <a:lnTo>
                    <a:pt x="58645" y="29323"/>
                  </a:lnTo>
                  <a:cubicBezTo>
                    <a:pt x="58645" y="13149"/>
                    <a:pt x="45496" y="0"/>
                    <a:pt x="29323" y="0"/>
                  </a:cubicBezTo>
                  <a:cubicBezTo>
                    <a:pt x="13149" y="0"/>
                    <a:pt x="0" y="13149"/>
                    <a:pt x="0" y="29323"/>
                  </a:cubicBezTo>
                  <a:lnTo>
                    <a:pt x="0" y="128031"/>
                  </a:lnTo>
                  <a:cubicBezTo>
                    <a:pt x="0" y="144205"/>
                    <a:pt x="13149" y="157354"/>
                    <a:pt x="29323" y="157354"/>
                  </a:cubicBezTo>
                  <a:close/>
                </a:path>
              </a:pathLst>
            </a:custGeom>
            <a:solidFill>
              <a:srgbClr val="FFFFFF"/>
            </a:solidFill>
            <a:ln w="0" cap="flat">
              <a:noFill/>
              <a:prstDash val="solid"/>
              <a:miter/>
            </a:ln>
          </p:spPr>
          <p:txBody>
            <a:bodyPr rtlCol="0" anchor="ctr"/>
            <a:lstStyle/>
            <a:p>
              <a:endParaRPr lang="da-DK" sz="1200" dirty="0"/>
            </a:p>
          </p:txBody>
        </p:sp>
        <p:sp>
          <p:nvSpPr>
            <p:cNvPr id="15" name="Freeform: Shape 14">
              <a:extLst>
                <a:ext uri="{FF2B5EF4-FFF2-40B4-BE49-F238E27FC236}">
                  <a16:creationId xmlns:a16="http://schemas.microsoft.com/office/drawing/2014/main" id="{1ABD1442-E03B-5F14-A798-4B0FF595C044}"/>
                </a:ext>
              </a:extLst>
            </p:cNvPr>
            <p:cNvSpPr/>
            <p:nvPr/>
          </p:nvSpPr>
          <p:spPr>
            <a:xfrm>
              <a:off x="4127004" y="480575"/>
              <a:ext cx="157477" cy="58645"/>
            </a:xfrm>
            <a:custGeom>
              <a:avLst/>
              <a:gdLst>
                <a:gd name="connsiteX0" fmla="*/ 29323 w 157477"/>
                <a:gd name="connsiteY0" fmla="*/ 58645 h 58645"/>
                <a:gd name="connsiteX1" fmla="*/ 128155 w 157477"/>
                <a:gd name="connsiteY1" fmla="*/ 58645 h 58645"/>
                <a:gd name="connsiteX2" fmla="*/ 157477 w 157477"/>
                <a:gd name="connsiteY2" fmla="*/ 29322 h 58645"/>
                <a:gd name="connsiteX3" fmla="*/ 128155 w 157477"/>
                <a:gd name="connsiteY3" fmla="*/ 0 h 58645"/>
                <a:gd name="connsiteX4" fmla="*/ 29323 w 157477"/>
                <a:gd name="connsiteY4" fmla="*/ 0 h 58645"/>
                <a:gd name="connsiteX5" fmla="*/ 0 w 157477"/>
                <a:gd name="connsiteY5" fmla="*/ 29322 h 58645"/>
                <a:gd name="connsiteX6" fmla="*/ 29323 w 157477"/>
                <a:gd name="connsiteY6" fmla="*/ 58645 h 5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477" h="58645">
                  <a:moveTo>
                    <a:pt x="29323" y="58645"/>
                  </a:moveTo>
                  <a:lnTo>
                    <a:pt x="128155" y="58645"/>
                  </a:lnTo>
                  <a:cubicBezTo>
                    <a:pt x="144329" y="58645"/>
                    <a:pt x="157477" y="45496"/>
                    <a:pt x="157477" y="29322"/>
                  </a:cubicBezTo>
                  <a:cubicBezTo>
                    <a:pt x="157477" y="13149"/>
                    <a:pt x="144329" y="0"/>
                    <a:pt x="128155" y="0"/>
                  </a:cubicBezTo>
                  <a:lnTo>
                    <a:pt x="29323" y="0"/>
                  </a:lnTo>
                  <a:cubicBezTo>
                    <a:pt x="13149" y="0"/>
                    <a:pt x="0" y="13149"/>
                    <a:pt x="0" y="29322"/>
                  </a:cubicBezTo>
                  <a:cubicBezTo>
                    <a:pt x="0" y="45496"/>
                    <a:pt x="13149" y="58645"/>
                    <a:pt x="29323" y="58645"/>
                  </a:cubicBezTo>
                  <a:close/>
                </a:path>
              </a:pathLst>
            </a:custGeom>
            <a:solidFill>
              <a:srgbClr val="FFFFFF"/>
            </a:solidFill>
            <a:ln w="0" cap="flat">
              <a:noFill/>
              <a:prstDash val="solid"/>
              <a:miter/>
            </a:ln>
          </p:spPr>
          <p:txBody>
            <a:bodyPr rtlCol="0" anchor="ctr"/>
            <a:lstStyle/>
            <a:p>
              <a:endParaRPr lang="da-DK" sz="1200" dirty="0"/>
            </a:p>
          </p:txBody>
        </p:sp>
        <p:sp>
          <p:nvSpPr>
            <p:cNvPr id="16" name="Freeform: Shape 15">
              <a:extLst>
                <a:ext uri="{FF2B5EF4-FFF2-40B4-BE49-F238E27FC236}">
                  <a16:creationId xmlns:a16="http://schemas.microsoft.com/office/drawing/2014/main" id="{A0AA0E68-7F06-DA6D-4E6C-94F125D417D5}"/>
                </a:ext>
              </a:extLst>
            </p:cNvPr>
            <p:cNvSpPr/>
            <p:nvPr/>
          </p:nvSpPr>
          <p:spPr>
            <a:xfrm>
              <a:off x="4373807" y="480575"/>
              <a:ext cx="157477" cy="58645"/>
            </a:xfrm>
            <a:custGeom>
              <a:avLst/>
              <a:gdLst>
                <a:gd name="connsiteX0" fmla="*/ 29323 w 157477"/>
                <a:gd name="connsiteY0" fmla="*/ 58645 h 58645"/>
                <a:gd name="connsiteX1" fmla="*/ 128155 w 157477"/>
                <a:gd name="connsiteY1" fmla="*/ 58645 h 58645"/>
                <a:gd name="connsiteX2" fmla="*/ 157477 w 157477"/>
                <a:gd name="connsiteY2" fmla="*/ 29322 h 58645"/>
                <a:gd name="connsiteX3" fmla="*/ 128155 w 157477"/>
                <a:gd name="connsiteY3" fmla="*/ 0 h 58645"/>
                <a:gd name="connsiteX4" fmla="*/ 29323 w 157477"/>
                <a:gd name="connsiteY4" fmla="*/ 0 h 58645"/>
                <a:gd name="connsiteX5" fmla="*/ 0 w 157477"/>
                <a:gd name="connsiteY5" fmla="*/ 29322 h 58645"/>
                <a:gd name="connsiteX6" fmla="*/ 29323 w 157477"/>
                <a:gd name="connsiteY6" fmla="*/ 58645 h 5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477" h="58645">
                  <a:moveTo>
                    <a:pt x="29323" y="58645"/>
                  </a:moveTo>
                  <a:lnTo>
                    <a:pt x="128155" y="58645"/>
                  </a:lnTo>
                  <a:cubicBezTo>
                    <a:pt x="144329" y="58645"/>
                    <a:pt x="157477" y="45496"/>
                    <a:pt x="157477" y="29322"/>
                  </a:cubicBezTo>
                  <a:cubicBezTo>
                    <a:pt x="157477" y="13149"/>
                    <a:pt x="144329" y="0"/>
                    <a:pt x="128155" y="0"/>
                  </a:cubicBezTo>
                  <a:lnTo>
                    <a:pt x="29323" y="0"/>
                  </a:lnTo>
                  <a:cubicBezTo>
                    <a:pt x="13149" y="0"/>
                    <a:pt x="0" y="13149"/>
                    <a:pt x="0" y="29322"/>
                  </a:cubicBezTo>
                  <a:cubicBezTo>
                    <a:pt x="0" y="45496"/>
                    <a:pt x="13149" y="58645"/>
                    <a:pt x="29323" y="58645"/>
                  </a:cubicBezTo>
                  <a:close/>
                </a:path>
              </a:pathLst>
            </a:custGeom>
            <a:solidFill>
              <a:srgbClr val="FFFFFF"/>
            </a:solidFill>
            <a:ln w="0" cap="flat">
              <a:noFill/>
              <a:prstDash val="solid"/>
              <a:miter/>
            </a:ln>
          </p:spPr>
          <p:txBody>
            <a:bodyPr rtlCol="0" anchor="ctr"/>
            <a:lstStyle/>
            <a:p>
              <a:endParaRPr lang="da-DK" sz="1200" dirty="0"/>
            </a:p>
          </p:txBody>
        </p:sp>
        <p:sp>
          <p:nvSpPr>
            <p:cNvPr id="17" name="Freeform: Shape 16">
              <a:extLst>
                <a:ext uri="{FF2B5EF4-FFF2-40B4-BE49-F238E27FC236}">
                  <a16:creationId xmlns:a16="http://schemas.microsoft.com/office/drawing/2014/main" id="{E358042D-7E3C-791D-FCBB-5DDA63160E84}"/>
                </a:ext>
              </a:extLst>
            </p:cNvPr>
            <p:cNvSpPr/>
            <p:nvPr/>
          </p:nvSpPr>
          <p:spPr>
            <a:xfrm>
              <a:off x="3756676" y="1739468"/>
              <a:ext cx="1144875" cy="58645"/>
            </a:xfrm>
            <a:custGeom>
              <a:avLst/>
              <a:gdLst>
                <a:gd name="connsiteX0" fmla="*/ 0 w 1144875"/>
                <a:gd name="connsiteY0" fmla="*/ 0 h 58645"/>
                <a:gd name="connsiteX1" fmla="*/ 1144875 w 1144875"/>
                <a:gd name="connsiteY1" fmla="*/ 0 h 58645"/>
                <a:gd name="connsiteX2" fmla="*/ 1144875 w 1144875"/>
                <a:gd name="connsiteY2" fmla="*/ 58645 h 58645"/>
                <a:gd name="connsiteX3" fmla="*/ 0 w 1144875"/>
                <a:gd name="connsiteY3" fmla="*/ 58645 h 58645"/>
              </a:gdLst>
              <a:ahLst/>
              <a:cxnLst>
                <a:cxn ang="0">
                  <a:pos x="connsiteX0" y="connsiteY0"/>
                </a:cxn>
                <a:cxn ang="0">
                  <a:pos x="connsiteX1" y="connsiteY1"/>
                </a:cxn>
                <a:cxn ang="0">
                  <a:pos x="connsiteX2" y="connsiteY2"/>
                </a:cxn>
                <a:cxn ang="0">
                  <a:pos x="connsiteX3" y="connsiteY3"/>
                </a:cxn>
              </a:cxnLst>
              <a:rect l="l" t="t" r="r" b="b"/>
              <a:pathLst>
                <a:path w="1144875" h="58645">
                  <a:moveTo>
                    <a:pt x="0" y="0"/>
                  </a:moveTo>
                  <a:lnTo>
                    <a:pt x="1144875" y="0"/>
                  </a:lnTo>
                  <a:lnTo>
                    <a:pt x="1144875" y="58645"/>
                  </a:lnTo>
                  <a:lnTo>
                    <a:pt x="0" y="58645"/>
                  </a:lnTo>
                  <a:close/>
                </a:path>
              </a:pathLst>
            </a:custGeom>
            <a:solidFill>
              <a:srgbClr val="FFFFFF"/>
            </a:solidFill>
            <a:ln w="0" cap="flat">
              <a:noFill/>
              <a:prstDash val="solid"/>
              <a:miter/>
            </a:ln>
          </p:spPr>
          <p:txBody>
            <a:bodyPr rtlCol="0" anchor="ctr"/>
            <a:lstStyle/>
            <a:p>
              <a:endParaRPr lang="da-DK" sz="1200" dirty="0"/>
            </a:p>
          </p:txBody>
        </p:sp>
        <p:sp>
          <p:nvSpPr>
            <p:cNvPr id="18" name="Freeform: Shape 17">
              <a:extLst>
                <a:ext uri="{FF2B5EF4-FFF2-40B4-BE49-F238E27FC236}">
                  <a16:creationId xmlns:a16="http://schemas.microsoft.com/office/drawing/2014/main" id="{43FFE1A9-8DB4-7756-34E4-A2BB081B257D}"/>
                </a:ext>
              </a:extLst>
            </p:cNvPr>
            <p:cNvSpPr/>
            <p:nvPr/>
          </p:nvSpPr>
          <p:spPr>
            <a:xfrm>
              <a:off x="3756676" y="1838177"/>
              <a:ext cx="1144875" cy="58645"/>
            </a:xfrm>
            <a:custGeom>
              <a:avLst/>
              <a:gdLst>
                <a:gd name="connsiteX0" fmla="*/ 0 w 1144875"/>
                <a:gd name="connsiteY0" fmla="*/ 0 h 58645"/>
                <a:gd name="connsiteX1" fmla="*/ 1144875 w 1144875"/>
                <a:gd name="connsiteY1" fmla="*/ 0 h 58645"/>
                <a:gd name="connsiteX2" fmla="*/ 1144875 w 1144875"/>
                <a:gd name="connsiteY2" fmla="*/ 58645 h 58645"/>
                <a:gd name="connsiteX3" fmla="*/ 0 w 1144875"/>
                <a:gd name="connsiteY3" fmla="*/ 58645 h 58645"/>
              </a:gdLst>
              <a:ahLst/>
              <a:cxnLst>
                <a:cxn ang="0">
                  <a:pos x="connsiteX0" y="connsiteY0"/>
                </a:cxn>
                <a:cxn ang="0">
                  <a:pos x="connsiteX1" y="connsiteY1"/>
                </a:cxn>
                <a:cxn ang="0">
                  <a:pos x="connsiteX2" y="connsiteY2"/>
                </a:cxn>
                <a:cxn ang="0">
                  <a:pos x="connsiteX3" y="connsiteY3"/>
                </a:cxn>
              </a:cxnLst>
              <a:rect l="l" t="t" r="r" b="b"/>
              <a:pathLst>
                <a:path w="1144875" h="58645">
                  <a:moveTo>
                    <a:pt x="0" y="0"/>
                  </a:moveTo>
                  <a:lnTo>
                    <a:pt x="1144875" y="0"/>
                  </a:lnTo>
                  <a:lnTo>
                    <a:pt x="1144875" y="58645"/>
                  </a:lnTo>
                  <a:lnTo>
                    <a:pt x="0" y="58645"/>
                  </a:lnTo>
                  <a:close/>
                </a:path>
              </a:pathLst>
            </a:custGeom>
            <a:solidFill>
              <a:srgbClr val="FFFFFF"/>
            </a:solidFill>
            <a:ln w="0" cap="flat">
              <a:noFill/>
              <a:prstDash val="solid"/>
              <a:miter/>
            </a:ln>
          </p:spPr>
          <p:txBody>
            <a:bodyPr rtlCol="0" anchor="ctr"/>
            <a:lstStyle/>
            <a:p>
              <a:endParaRPr lang="da-DK" sz="1200" dirty="0"/>
            </a:p>
          </p:txBody>
        </p:sp>
        <p:sp>
          <p:nvSpPr>
            <p:cNvPr id="20" name="Freeform: Shape 19">
              <a:extLst>
                <a:ext uri="{FF2B5EF4-FFF2-40B4-BE49-F238E27FC236}">
                  <a16:creationId xmlns:a16="http://schemas.microsoft.com/office/drawing/2014/main" id="{BCDAF575-8230-54C7-B4BA-7FD79CC34FEB}"/>
                </a:ext>
              </a:extLst>
            </p:cNvPr>
            <p:cNvSpPr/>
            <p:nvPr/>
          </p:nvSpPr>
          <p:spPr>
            <a:xfrm>
              <a:off x="3756676" y="1640759"/>
              <a:ext cx="1144875" cy="58645"/>
            </a:xfrm>
            <a:custGeom>
              <a:avLst/>
              <a:gdLst>
                <a:gd name="connsiteX0" fmla="*/ 0 w 1144875"/>
                <a:gd name="connsiteY0" fmla="*/ 0 h 58645"/>
                <a:gd name="connsiteX1" fmla="*/ 1144875 w 1144875"/>
                <a:gd name="connsiteY1" fmla="*/ 0 h 58645"/>
                <a:gd name="connsiteX2" fmla="*/ 1144875 w 1144875"/>
                <a:gd name="connsiteY2" fmla="*/ 58645 h 58645"/>
                <a:gd name="connsiteX3" fmla="*/ 0 w 1144875"/>
                <a:gd name="connsiteY3" fmla="*/ 58645 h 58645"/>
              </a:gdLst>
              <a:ahLst/>
              <a:cxnLst>
                <a:cxn ang="0">
                  <a:pos x="connsiteX0" y="connsiteY0"/>
                </a:cxn>
                <a:cxn ang="0">
                  <a:pos x="connsiteX1" y="connsiteY1"/>
                </a:cxn>
                <a:cxn ang="0">
                  <a:pos x="connsiteX2" y="connsiteY2"/>
                </a:cxn>
                <a:cxn ang="0">
                  <a:pos x="connsiteX3" y="connsiteY3"/>
                </a:cxn>
              </a:cxnLst>
              <a:rect l="l" t="t" r="r" b="b"/>
              <a:pathLst>
                <a:path w="1144875" h="58645">
                  <a:moveTo>
                    <a:pt x="0" y="0"/>
                  </a:moveTo>
                  <a:lnTo>
                    <a:pt x="1144875" y="0"/>
                  </a:lnTo>
                  <a:lnTo>
                    <a:pt x="1144875" y="58645"/>
                  </a:lnTo>
                  <a:lnTo>
                    <a:pt x="0" y="58645"/>
                  </a:lnTo>
                  <a:close/>
                </a:path>
              </a:pathLst>
            </a:custGeom>
            <a:solidFill>
              <a:srgbClr val="FFFFFF"/>
            </a:solidFill>
            <a:ln w="0" cap="flat">
              <a:noFill/>
              <a:prstDash val="solid"/>
              <a:miter/>
            </a:ln>
          </p:spPr>
          <p:txBody>
            <a:bodyPr rtlCol="0" anchor="ctr"/>
            <a:lstStyle/>
            <a:p>
              <a:endParaRPr lang="da-DK" sz="1200" dirty="0"/>
            </a:p>
          </p:txBody>
        </p:sp>
        <p:sp>
          <p:nvSpPr>
            <p:cNvPr id="21" name="Freeform: Shape 20">
              <a:extLst>
                <a:ext uri="{FF2B5EF4-FFF2-40B4-BE49-F238E27FC236}">
                  <a16:creationId xmlns:a16="http://schemas.microsoft.com/office/drawing/2014/main" id="{BA70ACD8-F6A9-AC3C-E5DE-55B14AAC9FA6}"/>
                </a:ext>
              </a:extLst>
            </p:cNvPr>
            <p:cNvSpPr/>
            <p:nvPr/>
          </p:nvSpPr>
          <p:spPr>
            <a:xfrm>
              <a:off x="2906075" y="-216313"/>
              <a:ext cx="2846075" cy="2846075"/>
            </a:xfrm>
            <a:custGeom>
              <a:avLst/>
              <a:gdLst>
                <a:gd name="connsiteX0" fmla="*/ 0 w 2846075"/>
                <a:gd name="connsiteY0" fmla="*/ 1423038 h 2846075"/>
                <a:gd name="connsiteX1" fmla="*/ 1423038 w 2846075"/>
                <a:gd name="connsiteY1" fmla="*/ 2846076 h 2846075"/>
                <a:gd name="connsiteX2" fmla="*/ 2846076 w 2846075"/>
                <a:gd name="connsiteY2" fmla="*/ 1423038 h 2846075"/>
                <a:gd name="connsiteX3" fmla="*/ 1423038 w 2846075"/>
                <a:gd name="connsiteY3" fmla="*/ 0 h 2846075"/>
                <a:gd name="connsiteX4" fmla="*/ 0 w 2846075"/>
                <a:gd name="connsiteY4" fmla="*/ 1423038 h 284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6075" h="2846075">
                  <a:moveTo>
                    <a:pt x="0" y="1423038"/>
                  </a:moveTo>
                  <a:cubicBezTo>
                    <a:pt x="0" y="2209006"/>
                    <a:pt x="637132" y="2846076"/>
                    <a:pt x="1423038" y="2846076"/>
                  </a:cubicBezTo>
                  <a:cubicBezTo>
                    <a:pt x="2208944" y="2846076"/>
                    <a:pt x="2846076" y="2209006"/>
                    <a:pt x="2846076" y="1423038"/>
                  </a:cubicBezTo>
                  <a:cubicBezTo>
                    <a:pt x="2846076" y="637071"/>
                    <a:pt x="2208944" y="0"/>
                    <a:pt x="1423038" y="0"/>
                  </a:cubicBezTo>
                  <a:cubicBezTo>
                    <a:pt x="637132" y="0"/>
                    <a:pt x="0" y="637132"/>
                    <a:pt x="0" y="1423038"/>
                  </a:cubicBezTo>
                  <a:close/>
                </a:path>
              </a:pathLst>
            </a:custGeom>
            <a:solidFill>
              <a:srgbClr val="1E6791"/>
            </a:solidFill>
            <a:ln w="0" cap="flat">
              <a:noFill/>
              <a:prstDash val="solid"/>
              <a:miter/>
            </a:ln>
          </p:spPr>
          <p:txBody>
            <a:bodyPr rtlCol="0" anchor="ctr"/>
            <a:lstStyle/>
            <a:p>
              <a:endParaRPr lang="da-DK" sz="1200" dirty="0"/>
            </a:p>
          </p:txBody>
        </p:sp>
        <p:sp>
          <p:nvSpPr>
            <p:cNvPr id="22" name="Freeform: Shape 21">
              <a:extLst>
                <a:ext uri="{FF2B5EF4-FFF2-40B4-BE49-F238E27FC236}">
                  <a16:creationId xmlns:a16="http://schemas.microsoft.com/office/drawing/2014/main" id="{AEAECD0F-E50B-275A-7DB7-169024E73173}"/>
                </a:ext>
              </a:extLst>
            </p:cNvPr>
            <p:cNvSpPr/>
            <p:nvPr/>
          </p:nvSpPr>
          <p:spPr>
            <a:xfrm>
              <a:off x="3534493" y="540825"/>
              <a:ext cx="1589301" cy="1021226"/>
            </a:xfrm>
            <a:custGeom>
              <a:avLst/>
              <a:gdLst>
                <a:gd name="connsiteX0" fmla="*/ 1384836 w 1589301"/>
                <a:gd name="connsiteY0" fmla="*/ 397552 h 1021226"/>
                <a:gd name="connsiteX1" fmla="*/ 1103957 w 1589301"/>
                <a:gd name="connsiteY1" fmla="*/ 196986 h 1021226"/>
                <a:gd name="connsiteX2" fmla="*/ 921849 w 1589301"/>
                <a:gd name="connsiteY2" fmla="*/ 239272 h 1021226"/>
                <a:gd name="connsiteX3" fmla="*/ 823881 w 1589301"/>
                <a:gd name="connsiteY3" fmla="*/ 106240 h 1021226"/>
                <a:gd name="connsiteX4" fmla="*/ 823881 w 1589301"/>
                <a:gd name="connsiteY4" fmla="*/ 29323 h 1021226"/>
                <a:gd name="connsiteX5" fmla="*/ 794620 w 1589301"/>
                <a:gd name="connsiteY5" fmla="*/ 0 h 1021226"/>
                <a:gd name="connsiteX6" fmla="*/ 765359 w 1589301"/>
                <a:gd name="connsiteY6" fmla="*/ 29323 h 1021226"/>
                <a:gd name="connsiteX7" fmla="*/ 765359 w 1589301"/>
                <a:gd name="connsiteY7" fmla="*/ 106240 h 1021226"/>
                <a:gd name="connsiteX8" fmla="*/ 667391 w 1589301"/>
                <a:gd name="connsiteY8" fmla="*/ 239272 h 1021226"/>
                <a:gd name="connsiteX9" fmla="*/ 485283 w 1589301"/>
                <a:gd name="connsiteY9" fmla="*/ 196986 h 1021226"/>
                <a:gd name="connsiteX10" fmla="*/ 204404 w 1589301"/>
                <a:gd name="connsiteY10" fmla="*/ 397552 h 1021226"/>
                <a:gd name="connsiteX11" fmla="*/ 504 w 1589301"/>
                <a:gd name="connsiteY11" fmla="*/ 639169 h 1021226"/>
                <a:gd name="connsiteX12" fmla="*/ 225886 w 1589301"/>
                <a:gd name="connsiteY12" fmla="*/ 1019560 h 1021226"/>
                <a:gd name="connsiteX13" fmla="*/ 227245 w 1589301"/>
                <a:gd name="connsiteY13" fmla="*/ 1021165 h 1021226"/>
                <a:gd name="connsiteX14" fmla="*/ 304965 w 1589301"/>
                <a:gd name="connsiteY14" fmla="*/ 1021165 h 1021226"/>
                <a:gd name="connsiteX15" fmla="*/ 298051 w 1589301"/>
                <a:gd name="connsiteY15" fmla="*/ 1013448 h 1021226"/>
                <a:gd name="connsiteX16" fmla="*/ 141437 w 1589301"/>
                <a:gd name="connsiteY16" fmla="*/ 814364 h 1021226"/>
                <a:gd name="connsiteX17" fmla="*/ 58964 w 1589301"/>
                <a:gd name="connsiteY17" fmla="*/ 636206 h 1021226"/>
                <a:gd name="connsiteX18" fmla="*/ 96497 w 1589301"/>
                <a:gd name="connsiteY18" fmla="*/ 502002 h 1021226"/>
                <a:gd name="connsiteX19" fmla="*/ 199218 w 1589301"/>
                <a:gd name="connsiteY19" fmla="*/ 456999 h 1021226"/>
                <a:gd name="connsiteX20" fmla="*/ 199218 w 1589301"/>
                <a:gd name="connsiteY20" fmla="*/ 459222 h 1021226"/>
                <a:gd name="connsiteX21" fmla="*/ 199836 w 1589301"/>
                <a:gd name="connsiteY21" fmla="*/ 493853 h 1021226"/>
                <a:gd name="connsiteX22" fmla="*/ 278852 w 1589301"/>
                <a:gd name="connsiteY22" fmla="*/ 708062 h 1021226"/>
                <a:gd name="connsiteX23" fmla="*/ 487382 w 1589301"/>
                <a:gd name="connsiteY23" fmla="*/ 1019375 h 1021226"/>
                <a:gd name="connsiteX24" fmla="*/ 488801 w 1589301"/>
                <a:gd name="connsiteY24" fmla="*/ 1021165 h 1021226"/>
                <a:gd name="connsiteX25" fmla="*/ 562941 w 1589301"/>
                <a:gd name="connsiteY25" fmla="*/ 1021165 h 1021226"/>
                <a:gd name="connsiteX26" fmla="*/ 556830 w 1589301"/>
                <a:gd name="connsiteY26" fmla="*/ 1013634 h 1021226"/>
                <a:gd name="connsiteX27" fmla="*/ 258357 w 1589301"/>
                <a:gd name="connsiteY27" fmla="*/ 489409 h 1021226"/>
                <a:gd name="connsiteX28" fmla="*/ 299285 w 1589301"/>
                <a:gd name="connsiteY28" fmla="*/ 324338 h 1021226"/>
                <a:gd name="connsiteX29" fmla="*/ 485345 w 1589301"/>
                <a:gd name="connsiteY29" fmla="*/ 255631 h 1021226"/>
                <a:gd name="connsiteX30" fmla="*/ 765421 w 1589301"/>
                <a:gd name="connsiteY30" fmla="*/ 380452 h 1021226"/>
                <a:gd name="connsiteX31" fmla="*/ 765421 w 1589301"/>
                <a:gd name="connsiteY31" fmla="*/ 1021227 h 1021226"/>
                <a:gd name="connsiteX32" fmla="*/ 824004 w 1589301"/>
                <a:gd name="connsiteY32" fmla="*/ 1021227 h 1021226"/>
                <a:gd name="connsiteX33" fmla="*/ 824004 w 1589301"/>
                <a:gd name="connsiteY33" fmla="*/ 380452 h 1021226"/>
                <a:gd name="connsiteX34" fmla="*/ 1104081 w 1589301"/>
                <a:gd name="connsiteY34" fmla="*/ 255631 h 1021226"/>
                <a:gd name="connsiteX35" fmla="*/ 1290078 w 1589301"/>
                <a:gd name="connsiteY35" fmla="*/ 324276 h 1021226"/>
                <a:gd name="connsiteX36" fmla="*/ 1330945 w 1589301"/>
                <a:gd name="connsiteY36" fmla="*/ 489779 h 1021226"/>
                <a:gd name="connsiteX37" fmla="*/ 1032534 w 1589301"/>
                <a:gd name="connsiteY37" fmla="*/ 1013634 h 1021226"/>
                <a:gd name="connsiteX38" fmla="*/ 1026422 w 1589301"/>
                <a:gd name="connsiteY38" fmla="*/ 1021165 h 1021226"/>
                <a:gd name="connsiteX39" fmla="*/ 1100562 w 1589301"/>
                <a:gd name="connsiteY39" fmla="*/ 1021165 h 1021226"/>
                <a:gd name="connsiteX40" fmla="*/ 1101982 w 1589301"/>
                <a:gd name="connsiteY40" fmla="*/ 1019375 h 1021226"/>
                <a:gd name="connsiteX41" fmla="*/ 1310450 w 1589301"/>
                <a:gd name="connsiteY41" fmla="*/ 708062 h 1021226"/>
                <a:gd name="connsiteX42" fmla="*/ 1389528 w 1589301"/>
                <a:gd name="connsiteY42" fmla="*/ 493853 h 1021226"/>
                <a:gd name="connsiteX43" fmla="*/ 1390145 w 1589301"/>
                <a:gd name="connsiteY43" fmla="*/ 459160 h 1021226"/>
                <a:gd name="connsiteX44" fmla="*/ 1390145 w 1589301"/>
                <a:gd name="connsiteY44" fmla="*/ 456999 h 1021226"/>
                <a:gd name="connsiteX45" fmla="*/ 1492805 w 1589301"/>
                <a:gd name="connsiteY45" fmla="*/ 502002 h 1021226"/>
                <a:gd name="connsiteX46" fmla="*/ 1530400 w 1589301"/>
                <a:gd name="connsiteY46" fmla="*/ 636206 h 1021226"/>
                <a:gd name="connsiteX47" fmla="*/ 1447864 w 1589301"/>
                <a:gd name="connsiteY47" fmla="*/ 814364 h 1021226"/>
                <a:gd name="connsiteX48" fmla="*/ 1291251 w 1589301"/>
                <a:gd name="connsiteY48" fmla="*/ 1013448 h 1021226"/>
                <a:gd name="connsiteX49" fmla="*/ 1284337 w 1589301"/>
                <a:gd name="connsiteY49" fmla="*/ 1021165 h 1021226"/>
                <a:gd name="connsiteX50" fmla="*/ 1362057 w 1589301"/>
                <a:gd name="connsiteY50" fmla="*/ 1021165 h 1021226"/>
                <a:gd name="connsiteX51" fmla="*/ 1363416 w 1589301"/>
                <a:gd name="connsiteY51" fmla="*/ 1019560 h 1021226"/>
                <a:gd name="connsiteX52" fmla="*/ 1588798 w 1589301"/>
                <a:gd name="connsiteY52" fmla="*/ 639169 h 1021226"/>
                <a:gd name="connsiteX53" fmla="*/ 1384898 w 1589301"/>
                <a:gd name="connsiteY53" fmla="*/ 397552 h 1021226"/>
                <a:gd name="connsiteX54" fmla="*/ 1384836 w 1589301"/>
                <a:gd name="connsiteY54" fmla="*/ 397552 h 1021226"/>
                <a:gd name="connsiteX55" fmla="*/ 868142 w 1589301"/>
                <a:gd name="connsiteY55" fmla="*/ 231000 h 1021226"/>
                <a:gd name="connsiteX56" fmla="*/ 794744 w 1589301"/>
                <a:gd name="connsiteY56" fmla="*/ 304522 h 1021226"/>
                <a:gd name="connsiteX57" fmla="*/ 721345 w 1589301"/>
                <a:gd name="connsiteY57" fmla="*/ 231000 h 1021226"/>
                <a:gd name="connsiteX58" fmla="*/ 794744 w 1589301"/>
                <a:gd name="connsiteY58" fmla="*/ 157477 h 1021226"/>
                <a:gd name="connsiteX59" fmla="*/ 868142 w 1589301"/>
                <a:gd name="connsiteY59" fmla="*/ 231000 h 102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89301" h="1021226">
                  <a:moveTo>
                    <a:pt x="1384836" y="397552"/>
                  </a:moveTo>
                  <a:cubicBezTo>
                    <a:pt x="1364774" y="270076"/>
                    <a:pt x="1262608" y="196986"/>
                    <a:pt x="1103957" y="196986"/>
                  </a:cubicBezTo>
                  <a:cubicBezTo>
                    <a:pt x="1042349" y="196986"/>
                    <a:pt x="981111" y="211184"/>
                    <a:pt x="921849" y="239272"/>
                  </a:cubicBezTo>
                  <a:cubicBezTo>
                    <a:pt x="927899" y="171058"/>
                    <a:pt x="878575" y="119204"/>
                    <a:pt x="823881" y="106240"/>
                  </a:cubicBezTo>
                  <a:lnTo>
                    <a:pt x="823881" y="29323"/>
                  </a:lnTo>
                  <a:cubicBezTo>
                    <a:pt x="823881" y="13149"/>
                    <a:pt x="810732" y="0"/>
                    <a:pt x="794620" y="0"/>
                  </a:cubicBezTo>
                  <a:cubicBezTo>
                    <a:pt x="778508" y="0"/>
                    <a:pt x="765359" y="13149"/>
                    <a:pt x="765359" y="29323"/>
                  </a:cubicBezTo>
                  <a:lnTo>
                    <a:pt x="765359" y="106240"/>
                  </a:lnTo>
                  <a:cubicBezTo>
                    <a:pt x="710665" y="119142"/>
                    <a:pt x="661341" y="170997"/>
                    <a:pt x="667391" y="239272"/>
                  </a:cubicBezTo>
                  <a:cubicBezTo>
                    <a:pt x="608129" y="211184"/>
                    <a:pt x="546891" y="196986"/>
                    <a:pt x="485283" y="196986"/>
                  </a:cubicBezTo>
                  <a:cubicBezTo>
                    <a:pt x="326632" y="196986"/>
                    <a:pt x="224467" y="270014"/>
                    <a:pt x="204404" y="397552"/>
                  </a:cubicBezTo>
                  <a:cubicBezTo>
                    <a:pt x="63779" y="412367"/>
                    <a:pt x="-6718" y="495829"/>
                    <a:pt x="504" y="639169"/>
                  </a:cubicBezTo>
                  <a:cubicBezTo>
                    <a:pt x="5998" y="748373"/>
                    <a:pt x="144030" y="924370"/>
                    <a:pt x="225886" y="1019560"/>
                  </a:cubicBezTo>
                  <a:lnTo>
                    <a:pt x="227245" y="1021165"/>
                  </a:lnTo>
                  <a:lnTo>
                    <a:pt x="304965" y="1021165"/>
                  </a:lnTo>
                  <a:lnTo>
                    <a:pt x="298051" y="1013448"/>
                  </a:lnTo>
                  <a:cubicBezTo>
                    <a:pt x="239900" y="948630"/>
                    <a:pt x="182859" y="876034"/>
                    <a:pt x="141437" y="814364"/>
                  </a:cubicBezTo>
                  <a:cubicBezTo>
                    <a:pt x="89398" y="736829"/>
                    <a:pt x="60878" y="675221"/>
                    <a:pt x="58964" y="636206"/>
                  </a:cubicBezTo>
                  <a:cubicBezTo>
                    <a:pt x="56001" y="576574"/>
                    <a:pt x="68594" y="531386"/>
                    <a:pt x="96497" y="502002"/>
                  </a:cubicBezTo>
                  <a:cubicBezTo>
                    <a:pt x="118720" y="478544"/>
                    <a:pt x="153290" y="463419"/>
                    <a:pt x="199218" y="456999"/>
                  </a:cubicBezTo>
                  <a:lnTo>
                    <a:pt x="199218" y="459222"/>
                  </a:lnTo>
                  <a:cubicBezTo>
                    <a:pt x="198971" y="470210"/>
                    <a:pt x="198724" y="481569"/>
                    <a:pt x="199836" y="493853"/>
                  </a:cubicBezTo>
                  <a:cubicBezTo>
                    <a:pt x="204651" y="548239"/>
                    <a:pt x="231257" y="620341"/>
                    <a:pt x="278852" y="708062"/>
                  </a:cubicBezTo>
                  <a:cubicBezTo>
                    <a:pt x="302063" y="750780"/>
                    <a:pt x="368795" y="866651"/>
                    <a:pt x="487382" y="1019375"/>
                  </a:cubicBezTo>
                  <a:lnTo>
                    <a:pt x="488801" y="1021165"/>
                  </a:lnTo>
                  <a:lnTo>
                    <a:pt x="562941" y="1021165"/>
                  </a:lnTo>
                  <a:lnTo>
                    <a:pt x="556830" y="1013634"/>
                  </a:lnTo>
                  <a:cubicBezTo>
                    <a:pt x="554052" y="1010177"/>
                    <a:pt x="276012" y="666208"/>
                    <a:pt x="258357" y="489409"/>
                  </a:cubicBezTo>
                  <a:cubicBezTo>
                    <a:pt x="257678" y="485458"/>
                    <a:pt x="242554" y="391440"/>
                    <a:pt x="299285" y="324338"/>
                  </a:cubicBezTo>
                  <a:cubicBezTo>
                    <a:pt x="337806" y="278780"/>
                    <a:pt x="400402" y="255631"/>
                    <a:pt x="485345" y="255631"/>
                  </a:cubicBezTo>
                  <a:cubicBezTo>
                    <a:pt x="644921" y="255631"/>
                    <a:pt x="753198" y="367242"/>
                    <a:pt x="765421" y="380452"/>
                  </a:cubicBezTo>
                  <a:lnTo>
                    <a:pt x="765421" y="1021227"/>
                  </a:lnTo>
                  <a:lnTo>
                    <a:pt x="824004" y="1021227"/>
                  </a:lnTo>
                  <a:lnTo>
                    <a:pt x="824004" y="380452"/>
                  </a:lnTo>
                  <a:cubicBezTo>
                    <a:pt x="836227" y="367242"/>
                    <a:pt x="944504" y="255631"/>
                    <a:pt x="1104081" y="255631"/>
                  </a:cubicBezTo>
                  <a:cubicBezTo>
                    <a:pt x="1188962" y="255631"/>
                    <a:pt x="1251558" y="278718"/>
                    <a:pt x="1290078" y="324276"/>
                  </a:cubicBezTo>
                  <a:cubicBezTo>
                    <a:pt x="1346810" y="391317"/>
                    <a:pt x="1331685" y="485458"/>
                    <a:pt x="1330945" y="489779"/>
                  </a:cubicBezTo>
                  <a:cubicBezTo>
                    <a:pt x="1313351" y="666146"/>
                    <a:pt x="1035373" y="1010177"/>
                    <a:pt x="1032534" y="1013634"/>
                  </a:cubicBezTo>
                  <a:lnTo>
                    <a:pt x="1026422" y="1021165"/>
                  </a:lnTo>
                  <a:lnTo>
                    <a:pt x="1100562" y="1021165"/>
                  </a:lnTo>
                  <a:lnTo>
                    <a:pt x="1101982" y="1019375"/>
                  </a:lnTo>
                  <a:cubicBezTo>
                    <a:pt x="1220507" y="866651"/>
                    <a:pt x="1287300" y="750780"/>
                    <a:pt x="1310450" y="708062"/>
                  </a:cubicBezTo>
                  <a:cubicBezTo>
                    <a:pt x="1358045" y="620341"/>
                    <a:pt x="1384651" y="548300"/>
                    <a:pt x="1389528" y="493853"/>
                  </a:cubicBezTo>
                  <a:cubicBezTo>
                    <a:pt x="1390639" y="481569"/>
                    <a:pt x="1390392" y="470210"/>
                    <a:pt x="1390145" y="459160"/>
                  </a:cubicBezTo>
                  <a:lnTo>
                    <a:pt x="1390145" y="456999"/>
                  </a:lnTo>
                  <a:cubicBezTo>
                    <a:pt x="1436012" y="463419"/>
                    <a:pt x="1470582" y="478544"/>
                    <a:pt x="1492805" y="502002"/>
                  </a:cubicBezTo>
                  <a:cubicBezTo>
                    <a:pt x="1520708" y="531386"/>
                    <a:pt x="1533363" y="576574"/>
                    <a:pt x="1530400" y="636206"/>
                  </a:cubicBezTo>
                  <a:cubicBezTo>
                    <a:pt x="1528424" y="675221"/>
                    <a:pt x="1499904" y="736829"/>
                    <a:pt x="1447864" y="814364"/>
                  </a:cubicBezTo>
                  <a:cubicBezTo>
                    <a:pt x="1406443" y="876034"/>
                    <a:pt x="1349402" y="948630"/>
                    <a:pt x="1291251" y="1013448"/>
                  </a:cubicBezTo>
                  <a:lnTo>
                    <a:pt x="1284337" y="1021165"/>
                  </a:lnTo>
                  <a:lnTo>
                    <a:pt x="1362057" y="1021165"/>
                  </a:lnTo>
                  <a:lnTo>
                    <a:pt x="1363416" y="1019560"/>
                  </a:lnTo>
                  <a:cubicBezTo>
                    <a:pt x="1445210" y="924370"/>
                    <a:pt x="1583304" y="748373"/>
                    <a:pt x="1588798" y="639169"/>
                  </a:cubicBezTo>
                  <a:cubicBezTo>
                    <a:pt x="1596020" y="495829"/>
                    <a:pt x="1525523" y="412367"/>
                    <a:pt x="1384898" y="397552"/>
                  </a:cubicBezTo>
                  <a:lnTo>
                    <a:pt x="1384836" y="397552"/>
                  </a:lnTo>
                  <a:close/>
                  <a:moveTo>
                    <a:pt x="868142" y="231000"/>
                  </a:moveTo>
                  <a:cubicBezTo>
                    <a:pt x="868142" y="271557"/>
                    <a:pt x="835239" y="304522"/>
                    <a:pt x="794744" y="304522"/>
                  </a:cubicBezTo>
                  <a:cubicBezTo>
                    <a:pt x="754248" y="304522"/>
                    <a:pt x="721345" y="271557"/>
                    <a:pt x="721345" y="231000"/>
                  </a:cubicBezTo>
                  <a:cubicBezTo>
                    <a:pt x="721345" y="190442"/>
                    <a:pt x="754248" y="157477"/>
                    <a:pt x="794744" y="157477"/>
                  </a:cubicBezTo>
                  <a:cubicBezTo>
                    <a:pt x="835239" y="157477"/>
                    <a:pt x="868142" y="190442"/>
                    <a:pt x="868142" y="231000"/>
                  </a:cubicBezTo>
                  <a:close/>
                </a:path>
              </a:pathLst>
            </a:custGeom>
            <a:solidFill>
              <a:srgbClr val="FFFFFF"/>
            </a:solidFill>
            <a:ln w="0" cap="flat">
              <a:noFill/>
              <a:prstDash val="solid"/>
              <a:miter/>
            </a:ln>
          </p:spPr>
          <p:txBody>
            <a:bodyPr rtlCol="0" anchor="ctr"/>
            <a:lstStyle/>
            <a:p>
              <a:endParaRPr lang="da-DK" sz="1200" dirty="0"/>
            </a:p>
          </p:txBody>
        </p:sp>
        <p:sp>
          <p:nvSpPr>
            <p:cNvPr id="23" name="Freeform: Shape 22">
              <a:extLst>
                <a:ext uri="{FF2B5EF4-FFF2-40B4-BE49-F238E27FC236}">
                  <a16:creationId xmlns:a16="http://schemas.microsoft.com/office/drawing/2014/main" id="{922B39D6-D211-0FDE-F5A6-F0CD3700EA85}"/>
                </a:ext>
              </a:extLst>
            </p:cNvPr>
            <p:cNvSpPr/>
            <p:nvPr/>
          </p:nvSpPr>
          <p:spPr>
            <a:xfrm>
              <a:off x="4299791" y="293590"/>
              <a:ext cx="58645" cy="157353"/>
            </a:xfrm>
            <a:custGeom>
              <a:avLst/>
              <a:gdLst>
                <a:gd name="connsiteX0" fmla="*/ 29323 w 58645"/>
                <a:gd name="connsiteY0" fmla="*/ 157354 h 157353"/>
                <a:gd name="connsiteX1" fmla="*/ 58645 w 58645"/>
                <a:gd name="connsiteY1" fmla="*/ 128031 h 157353"/>
                <a:gd name="connsiteX2" fmla="*/ 58645 w 58645"/>
                <a:gd name="connsiteY2" fmla="*/ 29323 h 157353"/>
                <a:gd name="connsiteX3" fmla="*/ 29323 w 58645"/>
                <a:gd name="connsiteY3" fmla="*/ 0 h 157353"/>
                <a:gd name="connsiteX4" fmla="*/ 0 w 58645"/>
                <a:gd name="connsiteY4" fmla="*/ 29323 h 157353"/>
                <a:gd name="connsiteX5" fmla="*/ 0 w 58645"/>
                <a:gd name="connsiteY5" fmla="*/ 128031 h 157353"/>
                <a:gd name="connsiteX6" fmla="*/ 29323 w 58645"/>
                <a:gd name="connsiteY6" fmla="*/ 157354 h 15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5" h="157353">
                  <a:moveTo>
                    <a:pt x="29323" y="157354"/>
                  </a:moveTo>
                  <a:cubicBezTo>
                    <a:pt x="45496" y="157354"/>
                    <a:pt x="58645" y="144205"/>
                    <a:pt x="58645" y="128031"/>
                  </a:cubicBezTo>
                  <a:lnTo>
                    <a:pt x="58645" y="29323"/>
                  </a:lnTo>
                  <a:cubicBezTo>
                    <a:pt x="58645" y="13149"/>
                    <a:pt x="45496" y="0"/>
                    <a:pt x="29323" y="0"/>
                  </a:cubicBezTo>
                  <a:cubicBezTo>
                    <a:pt x="13149" y="0"/>
                    <a:pt x="0" y="13149"/>
                    <a:pt x="0" y="29323"/>
                  </a:cubicBezTo>
                  <a:lnTo>
                    <a:pt x="0" y="128031"/>
                  </a:lnTo>
                  <a:cubicBezTo>
                    <a:pt x="0" y="144205"/>
                    <a:pt x="13149" y="157354"/>
                    <a:pt x="29323" y="157354"/>
                  </a:cubicBezTo>
                  <a:close/>
                </a:path>
              </a:pathLst>
            </a:custGeom>
            <a:solidFill>
              <a:srgbClr val="FFFFFF"/>
            </a:solidFill>
            <a:ln w="0" cap="flat">
              <a:noFill/>
              <a:prstDash val="solid"/>
              <a:miter/>
            </a:ln>
          </p:spPr>
          <p:txBody>
            <a:bodyPr rtlCol="0" anchor="ctr"/>
            <a:lstStyle/>
            <a:p>
              <a:endParaRPr lang="da-DK" sz="1200" dirty="0"/>
            </a:p>
          </p:txBody>
        </p:sp>
        <p:sp>
          <p:nvSpPr>
            <p:cNvPr id="24" name="Freeform: Shape 23">
              <a:extLst>
                <a:ext uri="{FF2B5EF4-FFF2-40B4-BE49-F238E27FC236}">
                  <a16:creationId xmlns:a16="http://schemas.microsoft.com/office/drawing/2014/main" id="{0BD7F25D-9A42-15E2-DB29-8CBA6E08E3F0}"/>
                </a:ext>
              </a:extLst>
            </p:cNvPr>
            <p:cNvSpPr/>
            <p:nvPr/>
          </p:nvSpPr>
          <p:spPr>
            <a:xfrm>
              <a:off x="4127004" y="466624"/>
              <a:ext cx="157477" cy="58645"/>
            </a:xfrm>
            <a:custGeom>
              <a:avLst/>
              <a:gdLst>
                <a:gd name="connsiteX0" fmla="*/ 29323 w 157477"/>
                <a:gd name="connsiteY0" fmla="*/ 58645 h 58645"/>
                <a:gd name="connsiteX1" fmla="*/ 128155 w 157477"/>
                <a:gd name="connsiteY1" fmla="*/ 58645 h 58645"/>
                <a:gd name="connsiteX2" fmla="*/ 157477 w 157477"/>
                <a:gd name="connsiteY2" fmla="*/ 29323 h 58645"/>
                <a:gd name="connsiteX3" fmla="*/ 128155 w 157477"/>
                <a:gd name="connsiteY3" fmla="*/ 0 h 58645"/>
                <a:gd name="connsiteX4" fmla="*/ 29323 w 157477"/>
                <a:gd name="connsiteY4" fmla="*/ 0 h 58645"/>
                <a:gd name="connsiteX5" fmla="*/ 0 w 157477"/>
                <a:gd name="connsiteY5" fmla="*/ 29323 h 58645"/>
                <a:gd name="connsiteX6" fmla="*/ 29323 w 157477"/>
                <a:gd name="connsiteY6" fmla="*/ 58645 h 5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477" h="58645">
                  <a:moveTo>
                    <a:pt x="29323" y="58645"/>
                  </a:moveTo>
                  <a:lnTo>
                    <a:pt x="128155" y="58645"/>
                  </a:lnTo>
                  <a:cubicBezTo>
                    <a:pt x="144329" y="58645"/>
                    <a:pt x="157477" y="45496"/>
                    <a:pt x="157477" y="29323"/>
                  </a:cubicBezTo>
                  <a:cubicBezTo>
                    <a:pt x="157477" y="13149"/>
                    <a:pt x="144329" y="0"/>
                    <a:pt x="128155" y="0"/>
                  </a:cubicBezTo>
                  <a:lnTo>
                    <a:pt x="29323" y="0"/>
                  </a:lnTo>
                  <a:cubicBezTo>
                    <a:pt x="13149" y="0"/>
                    <a:pt x="0" y="13149"/>
                    <a:pt x="0" y="29323"/>
                  </a:cubicBezTo>
                  <a:cubicBezTo>
                    <a:pt x="0" y="45496"/>
                    <a:pt x="13149" y="58645"/>
                    <a:pt x="29323" y="58645"/>
                  </a:cubicBezTo>
                  <a:close/>
                </a:path>
              </a:pathLst>
            </a:custGeom>
            <a:solidFill>
              <a:srgbClr val="FFFFFF"/>
            </a:solidFill>
            <a:ln w="0" cap="flat">
              <a:noFill/>
              <a:prstDash val="solid"/>
              <a:miter/>
            </a:ln>
          </p:spPr>
          <p:txBody>
            <a:bodyPr rtlCol="0" anchor="ctr"/>
            <a:lstStyle/>
            <a:p>
              <a:endParaRPr lang="da-DK" sz="1200" dirty="0"/>
            </a:p>
          </p:txBody>
        </p:sp>
        <p:sp>
          <p:nvSpPr>
            <p:cNvPr id="25" name="Freeform: Shape 24">
              <a:extLst>
                <a:ext uri="{FF2B5EF4-FFF2-40B4-BE49-F238E27FC236}">
                  <a16:creationId xmlns:a16="http://schemas.microsoft.com/office/drawing/2014/main" id="{1D04E907-6539-681B-F029-F5CED435442C}"/>
                </a:ext>
              </a:extLst>
            </p:cNvPr>
            <p:cNvSpPr/>
            <p:nvPr/>
          </p:nvSpPr>
          <p:spPr>
            <a:xfrm>
              <a:off x="4373807" y="466624"/>
              <a:ext cx="157477" cy="58645"/>
            </a:xfrm>
            <a:custGeom>
              <a:avLst/>
              <a:gdLst>
                <a:gd name="connsiteX0" fmla="*/ 29323 w 157477"/>
                <a:gd name="connsiteY0" fmla="*/ 58645 h 58645"/>
                <a:gd name="connsiteX1" fmla="*/ 128155 w 157477"/>
                <a:gd name="connsiteY1" fmla="*/ 58645 h 58645"/>
                <a:gd name="connsiteX2" fmla="*/ 157477 w 157477"/>
                <a:gd name="connsiteY2" fmla="*/ 29323 h 58645"/>
                <a:gd name="connsiteX3" fmla="*/ 128155 w 157477"/>
                <a:gd name="connsiteY3" fmla="*/ 0 h 58645"/>
                <a:gd name="connsiteX4" fmla="*/ 29323 w 157477"/>
                <a:gd name="connsiteY4" fmla="*/ 0 h 58645"/>
                <a:gd name="connsiteX5" fmla="*/ 0 w 157477"/>
                <a:gd name="connsiteY5" fmla="*/ 29323 h 58645"/>
                <a:gd name="connsiteX6" fmla="*/ 29323 w 157477"/>
                <a:gd name="connsiteY6" fmla="*/ 58645 h 5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477" h="58645">
                  <a:moveTo>
                    <a:pt x="29323" y="58645"/>
                  </a:moveTo>
                  <a:lnTo>
                    <a:pt x="128155" y="58645"/>
                  </a:lnTo>
                  <a:cubicBezTo>
                    <a:pt x="144329" y="58645"/>
                    <a:pt x="157477" y="45496"/>
                    <a:pt x="157477" y="29323"/>
                  </a:cubicBezTo>
                  <a:cubicBezTo>
                    <a:pt x="157477" y="13149"/>
                    <a:pt x="144329" y="0"/>
                    <a:pt x="128155" y="0"/>
                  </a:cubicBezTo>
                  <a:lnTo>
                    <a:pt x="29323" y="0"/>
                  </a:lnTo>
                  <a:cubicBezTo>
                    <a:pt x="13149" y="0"/>
                    <a:pt x="0" y="13149"/>
                    <a:pt x="0" y="29323"/>
                  </a:cubicBezTo>
                  <a:cubicBezTo>
                    <a:pt x="0" y="45496"/>
                    <a:pt x="13149" y="58645"/>
                    <a:pt x="29323" y="58645"/>
                  </a:cubicBezTo>
                  <a:close/>
                </a:path>
              </a:pathLst>
            </a:custGeom>
            <a:solidFill>
              <a:srgbClr val="FFFFFF"/>
            </a:solidFill>
            <a:ln w="0" cap="flat">
              <a:noFill/>
              <a:prstDash val="solid"/>
              <a:miter/>
            </a:ln>
          </p:spPr>
          <p:txBody>
            <a:bodyPr rtlCol="0" anchor="ctr"/>
            <a:lstStyle/>
            <a:p>
              <a:endParaRPr lang="da-DK" sz="1200" dirty="0"/>
            </a:p>
          </p:txBody>
        </p:sp>
        <p:sp>
          <p:nvSpPr>
            <p:cNvPr id="26" name="Freeform: Shape 25">
              <a:extLst>
                <a:ext uri="{FF2B5EF4-FFF2-40B4-BE49-F238E27FC236}">
                  <a16:creationId xmlns:a16="http://schemas.microsoft.com/office/drawing/2014/main" id="{B08ABF94-0086-F709-76EC-0C4AF6674496}"/>
                </a:ext>
              </a:extLst>
            </p:cNvPr>
            <p:cNvSpPr/>
            <p:nvPr/>
          </p:nvSpPr>
          <p:spPr>
            <a:xfrm>
              <a:off x="3756676" y="1725516"/>
              <a:ext cx="1144875" cy="58645"/>
            </a:xfrm>
            <a:custGeom>
              <a:avLst/>
              <a:gdLst>
                <a:gd name="connsiteX0" fmla="*/ 0 w 1144875"/>
                <a:gd name="connsiteY0" fmla="*/ 0 h 58645"/>
                <a:gd name="connsiteX1" fmla="*/ 1144875 w 1144875"/>
                <a:gd name="connsiteY1" fmla="*/ 0 h 58645"/>
                <a:gd name="connsiteX2" fmla="*/ 1144875 w 1144875"/>
                <a:gd name="connsiteY2" fmla="*/ 58645 h 58645"/>
                <a:gd name="connsiteX3" fmla="*/ 0 w 1144875"/>
                <a:gd name="connsiteY3" fmla="*/ 58645 h 58645"/>
              </a:gdLst>
              <a:ahLst/>
              <a:cxnLst>
                <a:cxn ang="0">
                  <a:pos x="connsiteX0" y="connsiteY0"/>
                </a:cxn>
                <a:cxn ang="0">
                  <a:pos x="connsiteX1" y="connsiteY1"/>
                </a:cxn>
                <a:cxn ang="0">
                  <a:pos x="connsiteX2" y="connsiteY2"/>
                </a:cxn>
                <a:cxn ang="0">
                  <a:pos x="connsiteX3" y="connsiteY3"/>
                </a:cxn>
              </a:cxnLst>
              <a:rect l="l" t="t" r="r" b="b"/>
              <a:pathLst>
                <a:path w="1144875" h="58645">
                  <a:moveTo>
                    <a:pt x="0" y="0"/>
                  </a:moveTo>
                  <a:lnTo>
                    <a:pt x="1144875" y="0"/>
                  </a:lnTo>
                  <a:lnTo>
                    <a:pt x="1144875" y="58645"/>
                  </a:lnTo>
                  <a:lnTo>
                    <a:pt x="0" y="58645"/>
                  </a:lnTo>
                  <a:close/>
                </a:path>
              </a:pathLst>
            </a:custGeom>
            <a:solidFill>
              <a:srgbClr val="FFFFFF"/>
            </a:solidFill>
            <a:ln w="0" cap="flat">
              <a:noFill/>
              <a:prstDash val="solid"/>
              <a:miter/>
            </a:ln>
          </p:spPr>
          <p:txBody>
            <a:bodyPr rtlCol="0" anchor="ctr"/>
            <a:lstStyle/>
            <a:p>
              <a:endParaRPr lang="da-DK" sz="1200" dirty="0"/>
            </a:p>
          </p:txBody>
        </p:sp>
        <p:sp>
          <p:nvSpPr>
            <p:cNvPr id="27" name="Freeform: Shape 26">
              <a:extLst>
                <a:ext uri="{FF2B5EF4-FFF2-40B4-BE49-F238E27FC236}">
                  <a16:creationId xmlns:a16="http://schemas.microsoft.com/office/drawing/2014/main" id="{9A095D78-32E3-F228-39C7-C34CC831985B}"/>
                </a:ext>
              </a:extLst>
            </p:cNvPr>
            <p:cNvSpPr/>
            <p:nvPr/>
          </p:nvSpPr>
          <p:spPr>
            <a:xfrm>
              <a:off x="3756676" y="1824225"/>
              <a:ext cx="1144875" cy="58645"/>
            </a:xfrm>
            <a:custGeom>
              <a:avLst/>
              <a:gdLst>
                <a:gd name="connsiteX0" fmla="*/ 0 w 1144875"/>
                <a:gd name="connsiteY0" fmla="*/ 0 h 58645"/>
                <a:gd name="connsiteX1" fmla="*/ 1144875 w 1144875"/>
                <a:gd name="connsiteY1" fmla="*/ 0 h 58645"/>
                <a:gd name="connsiteX2" fmla="*/ 1144875 w 1144875"/>
                <a:gd name="connsiteY2" fmla="*/ 58645 h 58645"/>
                <a:gd name="connsiteX3" fmla="*/ 0 w 1144875"/>
                <a:gd name="connsiteY3" fmla="*/ 58645 h 58645"/>
              </a:gdLst>
              <a:ahLst/>
              <a:cxnLst>
                <a:cxn ang="0">
                  <a:pos x="connsiteX0" y="connsiteY0"/>
                </a:cxn>
                <a:cxn ang="0">
                  <a:pos x="connsiteX1" y="connsiteY1"/>
                </a:cxn>
                <a:cxn ang="0">
                  <a:pos x="connsiteX2" y="connsiteY2"/>
                </a:cxn>
                <a:cxn ang="0">
                  <a:pos x="connsiteX3" y="connsiteY3"/>
                </a:cxn>
              </a:cxnLst>
              <a:rect l="l" t="t" r="r" b="b"/>
              <a:pathLst>
                <a:path w="1144875" h="58645">
                  <a:moveTo>
                    <a:pt x="0" y="0"/>
                  </a:moveTo>
                  <a:lnTo>
                    <a:pt x="1144875" y="0"/>
                  </a:lnTo>
                  <a:lnTo>
                    <a:pt x="1144875" y="58645"/>
                  </a:lnTo>
                  <a:lnTo>
                    <a:pt x="0" y="58645"/>
                  </a:lnTo>
                  <a:close/>
                </a:path>
              </a:pathLst>
            </a:custGeom>
            <a:solidFill>
              <a:srgbClr val="FFFFFF"/>
            </a:solidFill>
            <a:ln w="0" cap="flat">
              <a:noFill/>
              <a:prstDash val="solid"/>
              <a:miter/>
            </a:ln>
          </p:spPr>
          <p:txBody>
            <a:bodyPr rtlCol="0" anchor="ctr"/>
            <a:lstStyle/>
            <a:p>
              <a:endParaRPr lang="da-DK" sz="1200" dirty="0"/>
            </a:p>
          </p:txBody>
        </p:sp>
        <p:sp>
          <p:nvSpPr>
            <p:cNvPr id="28" name="Freeform: Shape 27">
              <a:extLst>
                <a:ext uri="{FF2B5EF4-FFF2-40B4-BE49-F238E27FC236}">
                  <a16:creationId xmlns:a16="http://schemas.microsoft.com/office/drawing/2014/main" id="{7099FD4E-3506-A33E-640B-F76CF6EF4D6F}"/>
                </a:ext>
              </a:extLst>
            </p:cNvPr>
            <p:cNvSpPr/>
            <p:nvPr/>
          </p:nvSpPr>
          <p:spPr>
            <a:xfrm>
              <a:off x="3756676" y="1626807"/>
              <a:ext cx="1144875" cy="58645"/>
            </a:xfrm>
            <a:custGeom>
              <a:avLst/>
              <a:gdLst>
                <a:gd name="connsiteX0" fmla="*/ 0 w 1144875"/>
                <a:gd name="connsiteY0" fmla="*/ 0 h 58645"/>
                <a:gd name="connsiteX1" fmla="*/ 1144875 w 1144875"/>
                <a:gd name="connsiteY1" fmla="*/ 0 h 58645"/>
                <a:gd name="connsiteX2" fmla="*/ 1144875 w 1144875"/>
                <a:gd name="connsiteY2" fmla="*/ 58645 h 58645"/>
                <a:gd name="connsiteX3" fmla="*/ 0 w 1144875"/>
                <a:gd name="connsiteY3" fmla="*/ 58645 h 58645"/>
              </a:gdLst>
              <a:ahLst/>
              <a:cxnLst>
                <a:cxn ang="0">
                  <a:pos x="connsiteX0" y="connsiteY0"/>
                </a:cxn>
                <a:cxn ang="0">
                  <a:pos x="connsiteX1" y="connsiteY1"/>
                </a:cxn>
                <a:cxn ang="0">
                  <a:pos x="connsiteX2" y="connsiteY2"/>
                </a:cxn>
                <a:cxn ang="0">
                  <a:pos x="connsiteX3" y="connsiteY3"/>
                </a:cxn>
              </a:cxnLst>
              <a:rect l="l" t="t" r="r" b="b"/>
              <a:pathLst>
                <a:path w="1144875" h="58645">
                  <a:moveTo>
                    <a:pt x="0" y="0"/>
                  </a:moveTo>
                  <a:lnTo>
                    <a:pt x="1144875" y="0"/>
                  </a:lnTo>
                  <a:lnTo>
                    <a:pt x="1144875" y="58645"/>
                  </a:lnTo>
                  <a:lnTo>
                    <a:pt x="0" y="58645"/>
                  </a:lnTo>
                  <a:close/>
                </a:path>
              </a:pathLst>
            </a:custGeom>
            <a:solidFill>
              <a:srgbClr val="FFFFFF"/>
            </a:solidFill>
            <a:ln w="0" cap="flat">
              <a:noFill/>
              <a:prstDash val="solid"/>
              <a:miter/>
            </a:ln>
          </p:spPr>
          <p:txBody>
            <a:bodyPr rtlCol="0" anchor="ctr"/>
            <a:lstStyle/>
            <a:p>
              <a:endParaRPr lang="da-DK" sz="1200" dirty="0"/>
            </a:p>
          </p:txBody>
        </p:sp>
      </p:grpSp>
      <p:sp>
        <p:nvSpPr>
          <p:cNvPr id="8" name="Freeform: Shape 7">
            <a:extLst>
              <a:ext uri="{FF2B5EF4-FFF2-40B4-BE49-F238E27FC236}">
                <a16:creationId xmlns:a16="http://schemas.microsoft.com/office/drawing/2014/main" id="{DDBDEB46-E42F-C43F-D134-2491D3DF9B60}"/>
              </a:ext>
            </a:extLst>
          </p:cNvPr>
          <p:cNvSpPr/>
          <p:nvPr/>
        </p:nvSpPr>
        <p:spPr>
          <a:xfrm>
            <a:off x="7166609" y="4330129"/>
            <a:ext cx="473286" cy="473286"/>
          </a:xfrm>
          <a:custGeom>
            <a:avLst/>
            <a:gdLst>
              <a:gd name="connsiteX0" fmla="*/ 0 w 631048"/>
              <a:gd name="connsiteY0" fmla="*/ 315524 h 631048"/>
              <a:gd name="connsiteX1" fmla="*/ 315524 w 631048"/>
              <a:gd name="connsiteY1" fmla="*/ 631049 h 631048"/>
              <a:gd name="connsiteX2" fmla="*/ 631049 w 631048"/>
              <a:gd name="connsiteY2" fmla="*/ 315524 h 631048"/>
              <a:gd name="connsiteX3" fmla="*/ 315524 w 631048"/>
              <a:gd name="connsiteY3" fmla="*/ 0 h 631048"/>
              <a:gd name="connsiteX4" fmla="*/ 0 w 631048"/>
              <a:gd name="connsiteY4" fmla="*/ 315524 h 631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048" h="631048">
                <a:moveTo>
                  <a:pt x="0" y="315524"/>
                </a:moveTo>
                <a:cubicBezTo>
                  <a:pt x="0" y="489794"/>
                  <a:pt x="141269" y="631049"/>
                  <a:pt x="315524" y="631049"/>
                </a:cubicBezTo>
                <a:cubicBezTo>
                  <a:pt x="489780" y="631049"/>
                  <a:pt x="631049" y="489794"/>
                  <a:pt x="631049" y="315524"/>
                </a:cubicBezTo>
                <a:cubicBezTo>
                  <a:pt x="631049" y="141255"/>
                  <a:pt x="489780" y="0"/>
                  <a:pt x="315524" y="0"/>
                </a:cubicBezTo>
                <a:cubicBezTo>
                  <a:pt x="141269" y="0"/>
                  <a:pt x="0" y="141269"/>
                  <a:pt x="0" y="315524"/>
                </a:cubicBezTo>
                <a:close/>
              </a:path>
            </a:pathLst>
          </a:custGeom>
          <a:solidFill>
            <a:srgbClr val="1E6791"/>
          </a:solidFill>
          <a:ln w="0" cap="flat">
            <a:noFill/>
            <a:prstDash val="solid"/>
            <a:miter/>
          </a:ln>
        </p:spPr>
        <p:txBody>
          <a:bodyPr rtlCol="0" anchor="ctr"/>
          <a:lstStyle/>
          <a:p>
            <a:endParaRPr lang="da-DK" sz="1200" dirty="0"/>
          </a:p>
        </p:txBody>
      </p:sp>
      <p:sp>
        <p:nvSpPr>
          <p:cNvPr id="9" name="Freeform: Shape 8">
            <a:extLst>
              <a:ext uri="{FF2B5EF4-FFF2-40B4-BE49-F238E27FC236}">
                <a16:creationId xmlns:a16="http://schemas.microsoft.com/office/drawing/2014/main" id="{74275B27-B65D-1B4A-726C-A37C02FB7E31}"/>
              </a:ext>
            </a:extLst>
          </p:cNvPr>
          <p:cNvSpPr/>
          <p:nvPr/>
        </p:nvSpPr>
        <p:spPr>
          <a:xfrm>
            <a:off x="7271112" y="4456037"/>
            <a:ext cx="264292" cy="169824"/>
          </a:xfrm>
          <a:custGeom>
            <a:avLst/>
            <a:gdLst>
              <a:gd name="connsiteX0" fmla="*/ 307054 w 352389"/>
              <a:gd name="connsiteY0" fmla="*/ 88148 h 226432"/>
              <a:gd name="connsiteX1" fmla="*/ 244776 w 352389"/>
              <a:gd name="connsiteY1" fmla="*/ 43677 h 226432"/>
              <a:gd name="connsiteX2" fmla="*/ 204398 w 352389"/>
              <a:gd name="connsiteY2" fmla="*/ 53053 h 226432"/>
              <a:gd name="connsiteX3" fmla="*/ 182676 w 352389"/>
              <a:gd name="connsiteY3" fmla="*/ 23556 h 226432"/>
              <a:gd name="connsiteX4" fmla="*/ 182676 w 352389"/>
              <a:gd name="connsiteY4" fmla="*/ 6502 h 226432"/>
              <a:gd name="connsiteX5" fmla="*/ 176188 w 352389"/>
              <a:gd name="connsiteY5" fmla="*/ 0 h 226432"/>
              <a:gd name="connsiteX6" fmla="*/ 169700 w 352389"/>
              <a:gd name="connsiteY6" fmla="*/ 6502 h 226432"/>
              <a:gd name="connsiteX7" fmla="*/ 169700 w 352389"/>
              <a:gd name="connsiteY7" fmla="*/ 23556 h 226432"/>
              <a:gd name="connsiteX8" fmla="*/ 147978 w 352389"/>
              <a:gd name="connsiteY8" fmla="*/ 53053 h 226432"/>
              <a:gd name="connsiteX9" fmla="*/ 107600 w 352389"/>
              <a:gd name="connsiteY9" fmla="*/ 43677 h 226432"/>
              <a:gd name="connsiteX10" fmla="*/ 45322 w 352389"/>
              <a:gd name="connsiteY10" fmla="*/ 88148 h 226432"/>
              <a:gd name="connsiteX11" fmla="*/ 112 w 352389"/>
              <a:gd name="connsiteY11" fmla="*/ 141720 h 226432"/>
              <a:gd name="connsiteX12" fmla="*/ 50085 w 352389"/>
              <a:gd name="connsiteY12" fmla="*/ 226063 h 226432"/>
              <a:gd name="connsiteX13" fmla="*/ 50386 w 352389"/>
              <a:gd name="connsiteY13" fmla="*/ 226419 h 226432"/>
              <a:gd name="connsiteX14" fmla="*/ 67619 w 352389"/>
              <a:gd name="connsiteY14" fmla="*/ 226419 h 226432"/>
              <a:gd name="connsiteX15" fmla="*/ 66086 w 352389"/>
              <a:gd name="connsiteY15" fmla="*/ 224708 h 226432"/>
              <a:gd name="connsiteX16" fmla="*/ 31360 w 352389"/>
              <a:gd name="connsiteY16" fmla="*/ 180566 h 226432"/>
              <a:gd name="connsiteX17" fmla="*/ 13074 w 352389"/>
              <a:gd name="connsiteY17" fmla="*/ 141063 h 226432"/>
              <a:gd name="connsiteX18" fmla="*/ 21396 w 352389"/>
              <a:gd name="connsiteY18" fmla="*/ 111307 h 226432"/>
              <a:gd name="connsiteX19" fmla="*/ 44172 w 352389"/>
              <a:gd name="connsiteY19" fmla="*/ 101329 h 226432"/>
              <a:gd name="connsiteX20" fmla="*/ 44172 w 352389"/>
              <a:gd name="connsiteY20" fmla="*/ 101821 h 226432"/>
              <a:gd name="connsiteX21" fmla="*/ 44309 w 352389"/>
              <a:gd name="connsiteY21" fmla="*/ 109500 h 226432"/>
              <a:gd name="connsiteX22" fmla="*/ 61829 w 352389"/>
              <a:gd name="connsiteY22" fmla="*/ 156996 h 226432"/>
              <a:gd name="connsiteX23" fmla="*/ 108065 w 352389"/>
              <a:gd name="connsiteY23" fmla="*/ 226022 h 226432"/>
              <a:gd name="connsiteX24" fmla="*/ 108380 w 352389"/>
              <a:gd name="connsiteY24" fmla="*/ 226419 h 226432"/>
              <a:gd name="connsiteX25" fmla="*/ 124819 w 352389"/>
              <a:gd name="connsiteY25" fmla="*/ 226419 h 226432"/>
              <a:gd name="connsiteX26" fmla="*/ 123464 w 352389"/>
              <a:gd name="connsiteY26" fmla="*/ 224749 h 226432"/>
              <a:gd name="connsiteX27" fmla="*/ 57285 w 352389"/>
              <a:gd name="connsiteY27" fmla="*/ 108515 h 226432"/>
              <a:gd name="connsiteX28" fmla="*/ 66359 w 352389"/>
              <a:gd name="connsiteY28" fmla="*/ 71914 h 226432"/>
              <a:gd name="connsiteX29" fmla="*/ 107613 w 352389"/>
              <a:gd name="connsiteY29" fmla="*/ 56680 h 226432"/>
              <a:gd name="connsiteX30" fmla="*/ 169714 w 352389"/>
              <a:gd name="connsiteY30" fmla="*/ 84356 h 226432"/>
              <a:gd name="connsiteX31" fmla="*/ 169714 w 352389"/>
              <a:gd name="connsiteY31" fmla="*/ 226432 h 226432"/>
              <a:gd name="connsiteX32" fmla="*/ 182703 w 352389"/>
              <a:gd name="connsiteY32" fmla="*/ 226432 h 226432"/>
              <a:gd name="connsiteX33" fmla="*/ 182703 w 352389"/>
              <a:gd name="connsiteY33" fmla="*/ 84356 h 226432"/>
              <a:gd name="connsiteX34" fmla="*/ 244803 w 352389"/>
              <a:gd name="connsiteY34" fmla="*/ 56680 h 226432"/>
              <a:gd name="connsiteX35" fmla="*/ 286044 w 352389"/>
              <a:gd name="connsiteY35" fmla="*/ 71900 h 226432"/>
              <a:gd name="connsiteX36" fmla="*/ 295105 w 352389"/>
              <a:gd name="connsiteY36" fmla="*/ 108597 h 226432"/>
              <a:gd name="connsiteX37" fmla="*/ 228940 w 352389"/>
              <a:gd name="connsiteY37" fmla="*/ 224749 h 226432"/>
              <a:gd name="connsiteX38" fmla="*/ 227584 w 352389"/>
              <a:gd name="connsiteY38" fmla="*/ 226419 h 226432"/>
              <a:gd name="connsiteX39" fmla="*/ 244023 w 352389"/>
              <a:gd name="connsiteY39" fmla="*/ 226419 h 226432"/>
              <a:gd name="connsiteX40" fmla="*/ 244338 w 352389"/>
              <a:gd name="connsiteY40" fmla="*/ 226022 h 226432"/>
              <a:gd name="connsiteX41" fmla="*/ 290561 w 352389"/>
              <a:gd name="connsiteY41" fmla="*/ 156996 h 226432"/>
              <a:gd name="connsiteX42" fmla="*/ 308094 w 352389"/>
              <a:gd name="connsiteY42" fmla="*/ 109500 h 226432"/>
              <a:gd name="connsiteX43" fmla="*/ 308231 w 352389"/>
              <a:gd name="connsiteY43" fmla="*/ 101808 h 226432"/>
              <a:gd name="connsiteX44" fmla="*/ 308231 w 352389"/>
              <a:gd name="connsiteY44" fmla="*/ 101329 h 226432"/>
              <a:gd name="connsiteX45" fmla="*/ 330994 w 352389"/>
              <a:gd name="connsiteY45" fmla="*/ 111307 h 226432"/>
              <a:gd name="connsiteX46" fmla="*/ 339329 w 352389"/>
              <a:gd name="connsiteY46" fmla="*/ 141063 h 226432"/>
              <a:gd name="connsiteX47" fmla="*/ 321029 w 352389"/>
              <a:gd name="connsiteY47" fmla="*/ 180566 h 226432"/>
              <a:gd name="connsiteX48" fmla="*/ 286304 w 352389"/>
              <a:gd name="connsiteY48" fmla="*/ 224708 h 226432"/>
              <a:gd name="connsiteX49" fmla="*/ 284771 w 352389"/>
              <a:gd name="connsiteY49" fmla="*/ 226419 h 226432"/>
              <a:gd name="connsiteX50" fmla="*/ 302003 w 352389"/>
              <a:gd name="connsiteY50" fmla="*/ 226419 h 226432"/>
              <a:gd name="connsiteX51" fmla="*/ 302305 w 352389"/>
              <a:gd name="connsiteY51" fmla="*/ 226063 h 226432"/>
              <a:gd name="connsiteX52" fmla="*/ 352278 w 352389"/>
              <a:gd name="connsiteY52" fmla="*/ 141720 h 226432"/>
              <a:gd name="connsiteX53" fmla="*/ 307068 w 352389"/>
              <a:gd name="connsiteY53" fmla="*/ 88148 h 226432"/>
              <a:gd name="connsiteX54" fmla="*/ 307054 w 352389"/>
              <a:gd name="connsiteY54" fmla="*/ 88148 h 226432"/>
              <a:gd name="connsiteX55" fmla="*/ 192490 w 352389"/>
              <a:gd name="connsiteY55" fmla="*/ 51219 h 226432"/>
              <a:gd name="connsiteX56" fmla="*/ 176215 w 352389"/>
              <a:gd name="connsiteY56" fmla="*/ 67520 h 226432"/>
              <a:gd name="connsiteX57" fmla="*/ 159941 w 352389"/>
              <a:gd name="connsiteY57" fmla="*/ 51219 h 226432"/>
              <a:gd name="connsiteX58" fmla="*/ 176215 w 352389"/>
              <a:gd name="connsiteY58" fmla="*/ 34917 h 226432"/>
              <a:gd name="connsiteX59" fmla="*/ 192490 w 352389"/>
              <a:gd name="connsiteY59" fmla="*/ 51219 h 226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2389" h="226432">
                <a:moveTo>
                  <a:pt x="307054" y="88148"/>
                </a:moveTo>
                <a:cubicBezTo>
                  <a:pt x="302606" y="59883"/>
                  <a:pt x="279953" y="43677"/>
                  <a:pt x="244776" y="43677"/>
                </a:cubicBezTo>
                <a:cubicBezTo>
                  <a:pt x="231116" y="43677"/>
                  <a:pt x="217538" y="46825"/>
                  <a:pt x="204398" y="53053"/>
                </a:cubicBezTo>
                <a:cubicBezTo>
                  <a:pt x="205739" y="37928"/>
                  <a:pt x="194803" y="26431"/>
                  <a:pt x="182676" y="23556"/>
                </a:cubicBezTo>
                <a:lnTo>
                  <a:pt x="182676" y="6502"/>
                </a:lnTo>
                <a:cubicBezTo>
                  <a:pt x="182676" y="2915"/>
                  <a:pt x="179760" y="0"/>
                  <a:pt x="176188" y="0"/>
                </a:cubicBezTo>
                <a:cubicBezTo>
                  <a:pt x="172615" y="0"/>
                  <a:pt x="169700" y="2915"/>
                  <a:pt x="169700" y="6502"/>
                </a:cubicBezTo>
                <a:lnTo>
                  <a:pt x="169700" y="23556"/>
                </a:lnTo>
                <a:cubicBezTo>
                  <a:pt x="157573" y="26417"/>
                  <a:pt x="146637" y="37914"/>
                  <a:pt x="147978" y="53053"/>
                </a:cubicBezTo>
                <a:cubicBezTo>
                  <a:pt x="134838" y="46825"/>
                  <a:pt x="121260" y="43677"/>
                  <a:pt x="107600" y="43677"/>
                </a:cubicBezTo>
                <a:cubicBezTo>
                  <a:pt x="72423" y="43677"/>
                  <a:pt x="49770" y="59869"/>
                  <a:pt x="45322" y="88148"/>
                </a:cubicBezTo>
                <a:cubicBezTo>
                  <a:pt x="14141" y="91433"/>
                  <a:pt x="-1490" y="109938"/>
                  <a:pt x="112" y="141720"/>
                </a:cubicBezTo>
                <a:cubicBezTo>
                  <a:pt x="1330" y="165934"/>
                  <a:pt x="31935" y="204957"/>
                  <a:pt x="50085" y="226063"/>
                </a:cubicBezTo>
                <a:lnTo>
                  <a:pt x="50386" y="226419"/>
                </a:lnTo>
                <a:lnTo>
                  <a:pt x="67619" y="226419"/>
                </a:lnTo>
                <a:lnTo>
                  <a:pt x="66086" y="224708"/>
                </a:lnTo>
                <a:cubicBezTo>
                  <a:pt x="53192" y="210336"/>
                  <a:pt x="40545" y="194239"/>
                  <a:pt x="31360" y="180566"/>
                </a:cubicBezTo>
                <a:cubicBezTo>
                  <a:pt x="19822" y="163374"/>
                  <a:pt x="13498" y="149714"/>
                  <a:pt x="13074" y="141063"/>
                </a:cubicBezTo>
                <a:cubicBezTo>
                  <a:pt x="12417" y="127841"/>
                  <a:pt x="15209" y="117822"/>
                  <a:pt x="21396" y="111307"/>
                </a:cubicBezTo>
                <a:cubicBezTo>
                  <a:pt x="26323" y="106106"/>
                  <a:pt x="33988" y="102752"/>
                  <a:pt x="44172" y="101329"/>
                </a:cubicBezTo>
                <a:lnTo>
                  <a:pt x="44172" y="101821"/>
                </a:lnTo>
                <a:cubicBezTo>
                  <a:pt x="44117" y="104258"/>
                  <a:pt x="44062" y="106776"/>
                  <a:pt x="44309" y="109500"/>
                </a:cubicBezTo>
                <a:cubicBezTo>
                  <a:pt x="45376" y="121559"/>
                  <a:pt x="51276" y="137546"/>
                  <a:pt x="61829" y="156996"/>
                </a:cubicBezTo>
                <a:cubicBezTo>
                  <a:pt x="66975" y="166467"/>
                  <a:pt x="81771" y="192159"/>
                  <a:pt x="108065" y="226022"/>
                </a:cubicBezTo>
                <a:lnTo>
                  <a:pt x="108380" y="226419"/>
                </a:lnTo>
                <a:lnTo>
                  <a:pt x="124819" y="226419"/>
                </a:lnTo>
                <a:lnTo>
                  <a:pt x="123464" y="224749"/>
                </a:lnTo>
                <a:cubicBezTo>
                  <a:pt x="122848" y="223982"/>
                  <a:pt x="61199" y="147716"/>
                  <a:pt x="57285" y="108515"/>
                </a:cubicBezTo>
                <a:cubicBezTo>
                  <a:pt x="57134" y="107639"/>
                  <a:pt x="53781" y="86792"/>
                  <a:pt x="66359" y="71914"/>
                </a:cubicBezTo>
                <a:cubicBezTo>
                  <a:pt x="74900" y="61813"/>
                  <a:pt x="88779" y="56680"/>
                  <a:pt x="107613" y="56680"/>
                </a:cubicBezTo>
                <a:cubicBezTo>
                  <a:pt x="142996" y="56680"/>
                  <a:pt x="167004" y="81427"/>
                  <a:pt x="169714" y="84356"/>
                </a:cubicBezTo>
                <a:lnTo>
                  <a:pt x="169714" y="226432"/>
                </a:lnTo>
                <a:lnTo>
                  <a:pt x="182703" y="226432"/>
                </a:lnTo>
                <a:lnTo>
                  <a:pt x="182703" y="84356"/>
                </a:lnTo>
                <a:cubicBezTo>
                  <a:pt x="185413" y="81427"/>
                  <a:pt x="209421" y="56680"/>
                  <a:pt x="244803" y="56680"/>
                </a:cubicBezTo>
                <a:cubicBezTo>
                  <a:pt x="263624" y="56680"/>
                  <a:pt x="277503" y="61799"/>
                  <a:pt x="286044" y="71900"/>
                </a:cubicBezTo>
                <a:cubicBezTo>
                  <a:pt x="298623" y="86765"/>
                  <a:pt x="295269" y="107639"/>
                  <a:pt x="295105" y="108597"/>
                </a:cubicBezTo>
                <a:cubicBezTo>
                  <a:pt x="291204" y="147702"/>
                  <a:pt x="229569" y="223982"/>
                  <a:pt x="228940" y="224749"/>
                </a:cubicBezTo>
                <a:lnTo>
                  <a:pt x="227584" y="226419"/>
                </a:lnTo>
                <a:lnTo>
                  <a:pt x="244023" y="226419"/>
                </a:lnTo>
                <a:lnTo>
                  <a:pt x="244338" y="226022"/>
                </a:lnTo>
                <a:cubicBezTo>
                  <a:pt x="270618" y="192159"/>
                  <a:pt x="285428" y="166467"/>
                  <a:pt x="290561" y="156996"/>
                </a:cubicBezTo>
                <a:cubicBezTo>
                  <a:pt x="301114" y="137546"/>
                  <a:pt x="307013" y="121572"/>
                  <a:pt x="308094" y="109500"/>
                </a:cubicBezTo>
                <a:cubicBezTo>
                  <a:pt x="308341" y="106776"/>
                  <a:pt x="308286" y="104258"/>
                  <a:pt x="308231" y="101808"/>
                </a:cubicBezTo>
                <a:lnTo>
                  <a:pt x="308231" y="101329"/>
                </a:lnTo>
                <a:cubicBezTo>
                  <a:pt x="318401" y="102752"/>
                  <a:pt x="326066" y="106106"/>
                  <a:pt x="330994" y="111307"/>
                </a:cubicBezTo>
                <a:cubicBezTo>
                  <a:pt x="337180" y="117822"/>
                  <a:pt x="339986" y="127841"/>
                  <a:pt x="339329" y="141063"/>
                </a:cubicBezTo>
                <a:cubicBezTo>
                  <a:pt x="338891" y="149714"/>
                  <a:pt x="332568" y="163374"/>
                  <a:pt x="321029" y="180566"/>
                </a:cubicBezTo>
                <a:cubicBezTo>
                  <a:pt x="311845" y="194239"/>
                  <a:pt x="299198" y="210336"/>
                  <a:pt x="286304" y="224708"/>
                </a:cubicBezTo>
                <a:lnTo>
                  <a:pt x="284771" y="226419"/>
                </a:lnTo>
                <a:lnTo>
                  <a:pt x="302003" y="226419"/>
                </a:lnTo>
                <a:lnTo>
                  <a:pt x="302305" y="226063"/>
                </a:lnTo>
                <a:cubicBezTo>
                  <a:pt x="320441" y="204957"/>
                  <a:pt x="351059" y="165934"/>
                  <a:pt x="352278" y="141720"/>
                </a:cubicBezTo>
                <a:cubicBezTo>
                  <a:pt x="353879" y="109938"/>
                  <a:pt x="338248" y="91433"/>
                  <a:pt x="307068" y="88148"/>
                </a:cubicBezTo>
                <a:lnTo>
                  <a:pt x="307054" y="88148"/>
                </a:lnTo>
                <a:close/>
                <a:moveTo>
                  <a:pt x="192490" y="51219"/>
                </a:moveTo>
                <a:cubicBezTo>
                  <a:pt x="192490" y="60211"/>
                  <a:pt x="185194" y="67520"/>
                  <a:pt x="176215" y="67520"/>
                </a:cubicBezTo>
                <a:cubicBezTo>
                  <a:pt x="167236" y="67520"/>
                  <a:pt x="159941" y="60211"/>
                  <a:pt x="159941" y="51219"/>
                </a:cubicBezTo>
                <a:cubicBezTo>
                  <a:pt x="159941" y="42226"/>
                  <a:pt x="167236" y="34917"/>
                  <a:pt x="176215" y="34917"/>
                </a:cubicBezTo>
                <a:cubicBezTo>
                  <a:pt x="185194" y="34917"/>
                  <a:pt x="192490" y="42226"/>
                  <a:pt x="192490" y="51219"/>
                </a:cubicBezTo>
                <a:close/>
              </a:path>
            </a:pathLst>
          </a:custGeom>
          <a:solidFill>
            <a:srgbClr val="FFFFFF"/>
          </a:solidFill>
          <a:ln w="0" cap="flat">
            <a:noFill/>
            <a:prstDash val="solid"/>
            <a:miter/>
          </a:ln>
        </p:spPr>
        <p:txBody>
          <a:bodyPr rtlCol="0" anchor="ctr"/>
          <a:lstStyle/>
          <a:p>
            <a:endParaRPr lang="da-DK" sz="1200" dirty="0"/>
          </a:p>
        </p:txBody>
      </p:sp>
      <p:sp>
        <p:nvSpPr>
          <p:cNvPr id="10" name="Freeform: Shape 9">
            <a:extLst>
              <a:ext uri="{FF2B5EF4-FFF2-40B4-BE49-F238E27FC236}">
                <a16:creationId xmlns:a16="http://schemas.microsoft.com/office/drawing/2014/main" id="{015B1B25-5AC7-822F-5E24-BE8B24FF4111}"/>
              </a:ext>
            </a:extLst>
          </p:cNvPr>
          <p:cNvSpPr/>
          <p:nvPr/>
        </p:nvSpPr>
        <p:spPr>
          <a:xfrm>
            <a:off x="7398376" y="4414923"/>
            <a:ext cx="9752" cy="26167"/>
          </a:xfrm>
          <a:custGeom>
            <a:avLst/>
            <a:gdLst>
              <a:gd name="connsiteX0" fmla="*/ 6502 w 13003"/>
              <a:gd name="connsiteY0" fmla="*/ 34889 h 34889"/>
              <a:gd name="connsiteX1" fmla="*/ 13003 w 13003"/>
              <a:gd name="connsiteY1" fmla="*/ 28388 h 34889"/>
              <a:gd name="connsiteX2" fmla="*/ 13003 w 13003"/>
              <a:gd name="connsiteY2" fmla="*/ 6502 h 34889"/>
              <a:gd name="connsiteX3" fmla="*/ 6502 w 13003"/>
              <a:gd name="connsiteY3" fmla="*/ 0 h 34889"/>
              <a:gd name="connsiteX4" fmla="*/ 0 w 13003"/>
              <a:gd name="connsiteY4" fmla="*/ 6502 h 34889"/>
              <a:gd name="connsiteX5" fmla="*/ 0 w 13003"/>
              <a:gd name="connsiteY5" fmla="*/ 28388 h 34889"/>
              <a:gd name="connsiteX6" fmla="*/ 6502 w 13003"/>
              <a:gd name="connsiteY6" fmla="*/ 34889 h 3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03" h="34889">
                <a:moveTo>
                  <a:pt x="6502" y="34889"/>
                </a:moveTo>
                <a:cubicBezTo>
                  <a:pt x="10088" y="34889"/>
                  <a:pt x="13003" y="31974"/>
                  <a:pt x="13003" y="28388"/>
                </a:cubicBezTo>
                <a:lnTo>
                  <a:pt x="13003" y="6502"/>
                </a:lnTo>
                <a:cubicBezTo>
                  <a:pt x="13003" y="2915"/>
                  <a:pt x="10088" y="0"/>
                  <a:pt x="6502" y="0"/>
                </a:cubicBezTo>
                <a:cubicBezTo>
                  <a:pt x="2915" y="0"/>
                  <a:pt x="0" y="2915"/>
                  <a:pt x="0" y="6502"/>
                </a:cubicBezTo>
                <a:lnTo>
                  <a:pt x="0" y="28388"/>
                </a:lnTo>
                <a:cubicBezTo>
                  <a:pt x="0" y="31974"/>
                  <a:pt x="2915" y="34889"/>
                  <a:pt x="6502" y="34889"/>
                </a:cubicBezTo>
                <a:close/>
              </a:path>
            </a:pathLst>
          </a:custGeom>
          <a:solidFill>
            <a:srgbClr val="FFFFFF"/>
          </a:solidFill>
          <a:ln w="0" cap="flat">
            <a:noFill/>
            <a:prstDash val="solid"/>
            <a:miter/>
          </a:ln>
        </p:spPr>
        <p:txBody>
          <a:bodyPr rtlCol="0" anchor="ctr"/>
          <a:lstStyle/>
          <a:p>
            <a:endParaRPr lang="da-DK" sz="1200" dirty="0"/>
          </a:p>
        </p:txBody>
      </p:sp>
      <p:sp>
        <p:nvSpPr>
          <p:cNvPr id="11" name="Freeform: Shape 10">
            <a:extLst>
              <a:ext uri="{FF2B5EF4-FFF2-40B4-BE49-F238E27FC236}">
                <a16:creationId xmlns:a16="http://schemas.microsoft.com/office/drawing/2014/main" id="{F73F809A-F62A-A2CF-3D35-99D20EE6CF86}"/>
              </a:ext>
            </a:extLst>
          </p:cNvPr>
          <p:cNvSpPr/>
          <p:nvPr/>
        </p:nvSpPr>
        <p:spPr>
          <a:xfrm>
            <a:off x="7369642" y="4443697"/>
            <a:ext cx="26187" cy="9752"/>
          </a:xfrm>
          <a:custGeom>
            <a:avLst/>
            <a:gdLst>
              <a:gd name="connsiteX0" fmla="*/ 6502 w 34916"/>
              <a:gd name="connsiteY0" fmla="*/ 13003 h 13003"/>
              <a:gd name="connsiteX1" fmla="*/ 28415 w 34916"/>
              <a:gd name="connsiteY1" fmla="*/ 13003 h 13003"/>
              <a:gd name="connsiteX2" fmla="*/ 34917 w 34916"/>
              <a:gd name="connsiteY2" fmla="*/ 6502 h 13003"/>
              <a:gd name="connsiteX3" fmla="*/ 28415 w 34916"/>
              <a:gd name="connsiteY3" fmla="*/ 0 h 13003"/>
              <a:gd name="connsiteX4" fmla="*/ 6502 w 34916"/>
              <a:gd name="connsiteY4" fmla="*/ 0 h 13003"/>
              <a:gd name="connsiteX5" fmla="*/ 0 w 34916"/>
              <a:gd name="connsiteY5" fmla="*/ 6502 h 13003"/>
              <a:gd name="connsiteX6" fmla="*/ 6502 w 34916"/>
              <a:gd name="connsiteY6" fmla="*/ 13003 h 1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16" h="13003">
                <a:moveTo>
                  <a:pt x="6502" y="13003"/>
                </a:moveTo>
                <a:lnTo>
                  <a:pt x="28415" y="13003"/>
                </a:lnTo>
                <a:cubicBezTo>
                  <a:pt x="32001" y="13003"/>
                  <a:pt x="34917" y="10088"/>
                  <a:pt x="34917" y="6502"/>
                </a:cubicBezTo>
                <a:cubicBezTo>
                  <a:pt x="34917" y="2915"/>
                  <a:pt x="32001" y="0"/>
                  <a:pt x="28415" y="0"/>
                </a:cubicBezTo>
                <a:lnTo>
                  <a:pt x="6502" y="0"/>
                </a:lnTo>
                <a:cubicBezTo>
                  <a:pt x="2915" y="0"/>
                  <a:pt x="0" y="2915"/>
                  <a:pt x="0" y="6502"/>
                </a:cubicBezTo>
                <a:cubicBezTo>
                  <a:pt x="0" y="10088"/>
                  <a:pt x="2915" y="13003"/>
                  <a:pt x="6502" y="13003"/>
                </a:cubicBezTo>
                <a:close/>
              </a:path>
            </a:pathLst>
          </a:custGeom>
          <a:solidFill>
            <a:srgbClr val="FFFFFF"/>
          </a:solidFill>
          <a:ln w="0" cap="flat">
            <a:noFill/>
            <a:prstDash val="solid"/>
            <a:miter/>
          </a:ln>
        </p:spPr>
        <p:txBody>
          <a:bodyPr rtlCol="0" anchor="ctr"/>
          <a:lstStyle/>
          <a:p>
            <a:endParaRPr lang="da-DK" sz="1200" dirty="0"/>
          </a:p>
        </p:txBody>
      </p:sp>
      <p:sp>
        <p:nvSpPr>
          <p:cNvPr id="12" name="Freeform: Shape 11">
            <a:extLst>
              <a:ext uri="{FF2B5EF4-FFF2-40B4-BE49-F238E27FC236}">
                <a16:creationId xmlns:a16="http://schemas.microsoft.com/office/drawing/2014/main" id="{2F0D474F-2EE1-811C-95C6-02C4569111F2}"/>
              </a:ext>
            </a:extLst>
          </p:cNvPr>
          <p:cNvSpPr/>
          <p:nvPr/>
        </p:nvSpPr>
        <p:spPr>
          <a:xfrm>
            <a:off x="7410685" y="4443697"/>
            <a:ext cx="26187" cy="9752"/>
          </a:xfrm>
          <a:custGeom>
            <a:avLst/>
            <a:gdLst>
              <a:gd name="connsiteX0" fmla="*/ 6502 w 34916"/>
              <a:gd name="connsiteY0" fmla="*/ 13003 h 13003"/>
              <a:gd name="connsiteX1" fmla="*/ 28415 w 34916"/>
              <a:gd name="connsiteY1" fmla="*/ 13003 h 13003"/>
              <a:gd name="connsiteX2" fmla="*/ 34917 w 34916"/>
              <a:gd name="connsiteY2" fmla="*/ 6502 h 13003"/>
              <a:gd name="connsiteX3" fmla="*/ 28415 w 34916"/>
              <a:gd name="connsiteY3" fmla="*/ 0 h 13003"/>
              <a:gd name="connsiteX4" fmla="*/ 6502 w 34916"/>
              <a:gd name="connsiteY4" fmla="*/ 0 h 13003"/>
              <a:gd name="connsiteX5" fmla="*/ 0 w 34916"/>
              <a:gd name="connsiteY5" fmla="*/ 6502 h 13003"/>
              <a:gd name="connsiteX6" fmla="*/ 6502 w 34916"/>
              <a:gd name="connsiteY6" fmla="*/ 13003 h 1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16" h="13003">
                <a:moveTo>
                  <a:pt x="6502" y="13003"/>
                </a:moveTo>
                <a:lnTo>
                  <a:pt x="28415" y="13003"/>
                </a:lnTo>
                <a:cubicBezTo>
                  <a:pt x="32001" y="13003"/>
                  <a:pt x="34917" y="10088"/>
                  <a:pt x="34917" y="6502"/>
                </a:cubicBezTo>
                <a:cubicBezTo>
                  <a:pt x="34917" y="2915"/>
                  <a:pt x="32001" y="0"/>
                  <a:pt x="28415" y="0"/>
                </a:cubicBezTo>
                <a:lnTo>
                  <a:pt x="6502" y="0"/>
                </a:lnTo>
                <a:cubicBezTo>
                  <a:pt x="2915" y="0"/>
                  <a:pt x="0" y="2915"/>
                  <a:pt x="0" y="6502"/>
                </a:cubicBezTo>
                <a:cubicBezTo>
                  <a:pt x="0" y="10088"/>
                  <a:pt x="2915" y="13003"/>
                  <a:pt x="6502" y="13003"/>
                </a:cubicBezTo>
                <a:close/>
              </a:path>
            </a:pathLst>
          </a:custGeom>
          <a:solidFill>
            <a:srgbClr val="FFFFFF"/>
          </a:solidFill>
          <a:ln w="0" cap="flat">
            <a:noFill/>
            <a:prstDash val="solid"/>
            <a:miter/>
          </a:ln>
        </p:spPr>
        <p:txBody>
          <a:bodyPr rtlCol="0" anchor="ctr"/>
          <a:lstStyle/>
          <a:p>
            <a:endParaRPr lang="da-DK" sz="1200" dirty="0"/>
          </a:p>
        </p:txBody>
      </p:sp>
      <p:sp>
        <p:nvSpPr>
          <p:cNvPr id="19" name="Freeform: Shape 18">
            <a:extLst>
              <a:ext uri="{FF2B5EF4-FFF2-40B4-BE49-F238E27FC236}">
                <a16:creationId xmlns:a16="http://schemas.microsoft.com/office/drawing/2014/main" id="{7B3A271A-9727-0383-3C1C-B87099FC98D3}"/>
              </a:ext>
            </a:extLst>
          </p:cNvPr>
          <p:cNvSpPr/>
          <p:nvPr/>
        </p:nvSpPr>
        <p:spPr>
          <a:xfrm>
            <a:off x="7308059" y="4653045"/>
            <a:ext cx="190386" cy="9752"/>
          </a:xfrm>
          <a:custGeom>
            <a:avLst/>
            <a:gdLst>
              <a:gd name="connsiteX0" fmla="*/ 0 w 253848"/>
              <a:gd name="connsiteY0" fmla="*/ 0 h 13003"/>
              <a:gd name="connsiteX1" fmla="*/ 253849 w 253848"/>
              <a:gd name="connsiteY1" fmla="*/ 0 h 13003"/>
              <a:gd name="connsiteX2" fmla="*/ 253849 w 253848"/>
              <a:gd name="connsiteY2" fmla="*/ 13003 h 13003"/>
              <a:gd name="connsiteX3" fmla="*/ 0 w 253848"/>
              <a:gd name="connsiteY3" fmla="*/ 13003 h 13003"/>
            </a:gdLst>
            <a:ahLst/>
            <a:cxnLst>
              <a:cxn ang="0">
                <a:pos x="connsiteX0" y="connsiteY0"/>
              </a:cxn>
              <a:cxn ang="0">
                <a:pos x="connsiteX1" y="connsiteY1"/>
              </a:cxn>
              <a:cxn ang="0">
                <a:pos x="connsiteX2" y="connsiteY2"/>
              </a:cxn>
              <a:cxn ang="0">
                <a:pos x="connsiteX3" y="connsiteY3"/>
              </a:cxn>
            </a:cxnLst>
            <a:rect l="l" t="t" r="r" b="b"/>
            <a:pathLst>
              <a:path w="253848" h="13003">
                <a:moveTo>
                  <a:pt x="0" y="0"/>
                </a:moveTo>
                <a:lnTo>
                  <a:pt x="253849" y="0"/>
                </a:lnTo>
                <a:lnTo>
                  <a:pt x="253849" y="13003"/>
                </a:lnTo>
                <a:lnTo>
                  <a:pt x="0" y="13003"/>
                </a:lnTo>
                <a:close/>
              </a:path>
            </a:pathLst>
          </a:custGeom>
          <a:solidFill>
            <a:srgbClr val="FFFFFF"/>
          </a:solidFill>
          <a:ln w="0" cap="flat">
            <a:noFill/>
            <a:prstDash val="solid"/>
            <a:miter/>
          </a:ln>
        </p:spPr>
        <p:txBody>
          <a:bodyPr rtlCol="0" anchor="ctr"/>
          <a:lstStyle/>
          <a:p>
            <a:endParaRPr lang="da-DK" sz="1200" dirty="0"/>
          </a:p>
        </p:txBody>
      </p:sp>
      <p:sp>
        <p:nvSpPr>
          <p:cNvPr id="29" name="Freeform: Shape 28">
            <a:extLst>
              <a:ext uri="{FF2B5EF4-FFF2-40B4-BE49-F238E27FC236}">
                <a16:creationId xmlns:a16="http://schemas.microsoft.com/office/drawing/2014/main" id="{BCE4D5D3-7CED-2A85-8317-0AFC899DB368}"/>
              </a:ext>
            </a:extLst>
          </p:cNvPr>
          <p:cNvSpPr/>
          <p:nvPr/>
        </p:nvSpPr>
        <p:spPr>
          <a:xfrm>
            <a:off x="7308059" y="4669459"/>
            <a:ext cx="190386" cy="9752"/>
          </a:xfrm>
          <a:custGeom>
            <a:avLst/>
            <a:gdLst>
              <a:gd name="connsiteX0" fmla="*/ 0 w 253848"/>
              <a:gd name="connsiteY0" fmla="*/ 0 h 13003"/>
              <a:gd name="connsiteX1" fmla="*/ 253849 w 253848"/>
              <a:gd name="connsiteY1" fmla="*/ 0 h 13003"/>
              <a:gd name="connsiteX2" fmla="*/ 253849 w 253848"/>
              <a:gd name="connsiteY2" fmla="*/ 13003 h 13003"/>
              <a:gd name="connsiteX3" fmla="*/ 0 w 253848"/>
              <a:gd name="connsiteY3" fmla="*/ 13003 h 13003"/>
            </a:gdLst>
            <a:ahLst/>
            <a:cxnLst>
              <a:cxn ang="0">
                <a:pos x="connsiteX0" y="connsiteY0"/>
              </a:cxn>
              <a:cxn ang="0">
                <a:pos x="connsiteX1" y="connsiteY1"/>
              </a:cxn>
              <a:cxn ang="0">
                <a:pos x="connsiteX2" y="connsiteY2"/>
              </a:cxn>
              <a:cxn ang="0">
                <a:pos x="connsiteX3" y="connsiteY3"/>
              </a:cxn>
            </a:cxnLst>
            <a:rect l="l" t="t" r="r" b="b"/>
            <a:pathLst>
              <a:path w="253848" h="13003">
                <a:moveTo>
                  <a:pt x="0" y="0"/>
                </a:moveTo>
                <a:lnTo>
                  <a:pt x="253849" y="0"/>
                </a:lnTo>
                <a:lnTo>
                  <a:pt x="253849" y="13003"/>
                </a:lnTo>
                <a:lnTo>
                  <a:pt x="0" y="13003"/>
                </a:lnTo>
                <a:close/>
              </a:path>
            </a:pathLst>
          </a:custGeom>
          <a:solidFill>
            <a:srgbClr val="FFFFFF"/>
          </a:solidFill>
          <a:ln w="0" cap="flat">
            <a:noFill/>
            <a:prstDash val="solid"/>
            <a:miter/>
          </a:ln>
        </p:spPr>
        <p:txBody>
          <a:bodyPr rtlCol="0" anchor="ctr"/>
          <a:lstStyle/>
          <a:p>
            <a:endParaRPr lang="da-DK" sz="1200" dirty="0"/>
          </a:p>
        </p:txBody>
      </p:sp>
      <p:sp>
        <p:nvSpPr>
          <p:cNvPr id="30" name="Freeform: Shape 29">
            <a:extLst>
              <a:ext uri="{FF2B5EF4-FFF2-40B4-BE49-F238E27FC236}">
                <a16:creationId xmlns:a16="http://schemas.microsoft.com/office/drawing/2014/main" id="{0E26E851-8841-A223-0B3C-2B71B5FA59BF}"/>
              </a:ext>
            </a:extLst>
          </p:cNvPr>
          <p:cNvSpPr/>
          <p:nvPr/>
        </p:nvSpPr>
        <p:spPr>
          <a:xfrm>
            <a:off x="7308059" y="4636630"/>
            <a:ext cx="190386" cy="9752"/>
          </a:xfrm>
          <a:custGeom>
            <a:avLst/>
            <a:gdLst>
              <a:gd name="connsiteX0" fmla="*/ 0 w 253848"/>
              <a:gd name="connsiteY0" fmla="*/ 0 h 13003"/>
              <a:gd name="connsiteX1" fmla="*/ 253849 w 253848"/>
              <a:gd name="connsiteY1" fmla="*/ 0 h 13003"/>
              <a:gd name="connsiteX2" fmla="*/ 253849 w 253848"/>
              <a:gd name="connsiteY2" fmla="*/ 13003 h 13003"/>
              <a:gd name="connsiteX3" fmla="*/ 0 w 253848"/>
              <a:gd name="connsiteY3" fmla="*/ 13003 h 13003"/>
            </a:gdLst>
            <a:ahLst/>
            <a:cxnLst>
              <a:cxn ang="0">
                <a:pos x="connsiteX0" y="connsiteY0"/>
              </a:cxn>
              <a:cxn ang="0">
                <a:pos x="connsiteX1" y="connsiteY1"/>
              </a:cxn>
              <a:cxn ang="0">
                <a:pos x="connsiteX2" y="connsiteY2"/>
              </a:cxn>
              <a:cxn ang="0">
                <a:pos x="connsiteX3" y="connsiteY3"/>
              </a:cxn>
            </a:cxnLst>
            <a:rect l="l" t="t" r="r" b="b"/>
            <a:pathLst>
              <a:path w="253848" h="13003">
                <a:moveTo>
                  <a:pt x="0" y="0"/>
                </a:moveTo>
                <a:lnTo>
                  <a:pt x="253849" y="0"/>
                </a:lnTo>
                <a:lnTo>
                  <a:pt x="253849" y="13003"/>
                </a:lnTo>
                <a:lnTo>
                  <a:pt x="0" y="13003"/>
                </a:lnTo>
                <a:close/>
              </a:path>
            </a:pathLst>
          </a:custGeom>
          <a:solidFill>
            <a:srgbClr val="FFFFFF"/>
          </a:solidFill>
          <a:ln w="0" cap="flat">
            <a:noFill/>
            <a:prstDash val="solid"/>
            <a:miter/>
          </a:ln>
        </p:spPr>
        <p:txBody>
          <a:bodyPr rtlCol="0" anchor="ctr"/>
          <a:lstStyle/>
          <a:p>
            <a:endParaRPr lang="da-DK" sz="1200" dirty="0"/>
          </a:p>
        </p:txBody>
      </p:sp>
      <p:sp>
        <p:nvSpPr>
          <p:cNvPr id="31" name="Freeform: Shape 30">
            <a:extLst>
              <a:ext uri="{FF2B5EF4-FFF2-40B4-BE49-F238E27FC236}">
                <a16:creationId xmlns:a16="http://schemas.microsoft.com/office/drawing/2014/main" id="{8C956CC4-60F8-D81E-E53C-A744491782EB}"/>
              </a:ext>
            </a:extLst>
          </p:cNvPr>
          <p:cNvSpPr/>
          <p:nvPr/>
        </p:nvSpPr>
        <p:spPr>
          <a:xfrm>
            <a:off x="7759408" y="4527270"/>
            <a:ext cx="63205" cy="82474"/>
          </a:xfrm>
          <a:custGeom>
            <a:avLst/>
            <a:gdLst>
              <a:gd name="connsiteX0" fmla="*/ 27936 w 84273"/>
              <a:gd name="connsiteY0" fmla="*/ 58829 h 109965"/>
              <a:gd name="connsiteX1" fmla="*/ 14495 w 84273"/>
              <a:gd name="connsiteY1" fmla="*/ 72804 h 109965"/>
              <a:gd name="connsiteX2" fmla="*/ 14495 w 84273"/>
              <a:gd name="connsiteY2" fmla="*/ 109965 h 109965"/>
              <a:gd name="connsiteX3" fmla="*/ 0 w 84273"/>
              <a:gd name="connsiteY3" fmla="*/ 109965 h 109965"/>
              <a:gd name="connsiteX4" fmla="*/ 0 w 84273"/>
              <a:gd name="connsiteY4" fmla="*/ 0 h 109965"/>
              <a:gd name="connsiteX5" fmla="*/ 14495 w 84273"/>
              <a:gd name="connsiteY5" fmla="*/ 0 h 109965"/>
              <a:gd name="connsiteX6" fmla="*/ 14495 w 84273"/>
              <a:gd name="connsiteY6" fmla="*/ 54380 h 109965"/>
              <a:gd name="connsiteX7" fmla="*/ 63359 w 84273"/>
              <a:gd name="connsiteY7" fmla="*/ 0 h 109965"/>
              <a:gd name="connsiteX8" fmla="*/ 80879 w 84273"/>
              <a:gd name="connsiteY8" fmla="*/ 0 h 109965"/>
              <a:gd name="connsiteX9" fmla="*/ 37600 w 84273"/>
              <a:gd name="connsiteY9" fmla="*/ 48563 h 109965"/>
              <a:gd name="connsiteX10" fmla="*/ 84274 w 84273"/>
              <a:gd name="connsiteY10" fmla="*/ 109965 h 109965"/>
              <a:gd name="connsiteX11" fmla="*/ 66905 w 84273"/>
              <a:gd name="connsiteY11" fmla="*/ 109965 h 109965"/>
              <a:gd name="connsiteX12" fmla="*/ 27936 w 84273"/>
              <a:gd name="connsiteY12" fmla="*/ 58843 h 10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273" h="109965">
                <a:moveTo>
                  <a:pt x="27936" y="58829"/>
                </a:moveTo>
                <a:lnTo>
                  <a:pt x="14495" y="72804"/>
                </a:lnTo>
                <a:lnTo>
                  <a:pt x="14495" y="109965"/>
                </a:lnTo>
                <a:lnTo>
                  <a:pt x="0" y="109965"/>
                </a:lnTo>
                <a:lnTo>
                  <a:pt x="0" y="0"/>
                </a:lnTo>
                <a:lnTo>
                  <a:pt x="14495" y="0"/>
                </a:lnTo>
                <a:lnTo>
                  <a:pt x="14495" y="54380"/>
                </a:lnTo>
                <a:lnTo>
                  <a:pt x="63359" y="0"/>
                </a:lnTo>
                <a:lnTo>
                  <a:pt x="80879" y="0"/>
                </a:lnTo>
                <a:lnTo>
                  <a:pt x="37600" y="48563"/>
                </a:lnTo>
                <a:lnTo>
                  <a:pt x="84274" y="109965"/>
                </a:lnTo>
                <a:lnTo>
                  <a:pt x="66905" y="109965"/>
                </a:lnTo>
                <a:lnTo>
                  <a:pt x="27936" y="58843"/>
                </a:lnTo>
                <a:close/>
              </a:path>
            </a:pathLst>
          </a:custGeom>
          <a:solidFill>
            <a:srgbClr val="000000"/>
          </a:solidFill>
          <a:ln w="0" cap="flat">
            <a:noFill/>
            <a:prstDash val="solid"/>
            <a:miter/>
          </a:ln>
        </p:spPr>
        <p:txBody>
          <a:bodyPr rtlCol="0" anchor="ctr"/>
          <a:lstStyle/>
          <a:p>
            <a:endParaRPr lang="da-DK" sz="1200" dirty="0"/>
          </a:p>
        </p:txBody>
      </p:sp>
      <p:sp>
        <p:nvSpPr>
          <p:cNvPr id="32" name="Freeform: Shape 31">
            <a:extLst>
              <a:ext uri="{FF2B5EF4-FFF2-40B4-BE49-F238E27FC236}">
                <a16:creationId xmlns:a16="http://schemas.microsoft.com/office/drawing/2014/main" id="{ED123CEF-68A0-AF35-A982-E51E2198D49B}"/>
              </a:ext>
            </a:extLst>
          </p:cNvPr>
          <p:cNvSpPr/>
          <p:nvPr/>
        </p:nvSpPr>
        <p:spPr>
          <a:xfrm>
            <a:off x="7831154" y="4522732"/>
            <a:ext cx="10481" cy="87001"/>
          </a:xfrm>
          <a:custGeom>
            <a:avLst/>
            <a:gdLst>
              <a:gd name="connsiteX0" fmla="*/ 13975 w 13974"/>
              <a:gd name="connsiteY0" fmla="*/ 116002 h 116001"/>
              <a:gd name="connsiteX1" fmla="*/ 0 w 13974"/>
              <a:gd name="connsiteY1" fmla="*/ 116002 h 116001"/>
              <a:gd name="connsiteX2" fmla="*/ 0 w 13974"/>
              <a:gd name="connsiteY2" fmla="*/ 0 h 116001"/>
              <a:gd name="connsiteX3" fmla="*/ 13975 w 13974"/>
              <a:gd name="connsiteY3" fmla="*/ 0 h 116001"/>
              <a:gd name="connsiteX4" fmla="*/ 13975 w 13974"/>
              <a:gd name="connsiteY4" fmla="*/ 116002 h 11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4" h="116001">
                <a:moveTo>
                  <a:pt x="13975" y="116002"/>
                </a:moveTo>
                <a:lnTo>
                  <a:pt x="0" y="116002"/>
                </a:lnTo>
                <a:lnTo>
                  <a:pt x="0" y="0"/>
                </a:lnTo>
                <a:lnTo>
                  <a:pt x="13975" y="0"/>
                </a:lnTo>
                <a:lnTo>
                  <a:pt x="13975" y="116002"/>
                </a:lnTo>
                <a:close/>
              </a:path>
            </a:pathLst>
          </a:custGeom>
          <a:solidFill>
            <a:srgbClr val="000000"/>
          </a:solidFill>
          <a:ln w="0" cap="flat">
            <a:noFill/>
            <a:prstDash val="solid"/>
            <a:miter/>
          </a:ln>
        </p:spPr>
        <p:txBody>
          <a:bodyPr rtlCol="0" anchor="ctr"/>
          <a:lstStyle/>
          <a:p>
            <a:endParaRPr lang="da-DK" sz="1200" dirty="0"/>
          </a:p>
        </p:txBody>
      </p:sp>
      <p:sp>
        <p:nvSpPr>
          <p:cNvPr id="33" name="Freeform: Shape 32">
            <a:extLst>
              <a:ext uri="{FF2B5EF4-FFF2-40B4-BE49-F238E27FC236}">
                <a16:creationId xmlns:a16="http://schemas.microsoft.com/office/drawing/2014/main" id="{5948C890-A8B5-7AE3-71D6-4C505B531E40}"/>
              </a:ext>
            </a:extLst>
          </p:cNvPr>
          <p:cNvSpPr/>
          <p:nvPr/>
        </p:nvSpPr>
        <p:spPr>
          <a:xfrm>
            <a:off x="7858235" y="4526131"/>
            <a:ext cx="12401" cy="83603"/>
          </a:xfrm>
          <a:custGeom>
            <a:avLst/>
            <a:gdLst>
              <a:gd name="connsiteX0" fmla="*/ 0 w 16534"/>
              <a:gd name="connsiteY0" fmla="*/ 8076 h 111471"/>
              <a:gd name="connsiteX1" fmla="*/ 2081 w 16534"/>
              <a:gd name="connsiteY1" fmla="*/ 2341 h 111471"/>
              <a:gd name="connsiteX2" fmla="*/ 8240 w 16534"/>
              <a:gd name="connsiteY2" fmla="*/ 0 h 111471"/>
              <a:gd name="connsiteX3" fmla="*/ 14427 w 16534"/>
              <a:gd name="connsiteY3" fmla="*/ 2341 h 111471"/>
              <a:gd name="connsiteX4" fmla="*/ 16535 w 16534"/>
              <a:gd name="connsiteY4" fmla="*/ 8076 h 111471"/>
              <a:gd name="connsiteX5" fmla="*/ 14427 w 16534"/>
              <a:gd name="connsiteY5" fmla="*/ 13742 h 111471"/>
              <a:gd name="connsiteX6" fmla="*/ 8240 w 16534"/>
              <a:gd name="connsiteY6" fmla="*/ 16014 h 111471"/>
              <a:gd name="connsiteX7" fmla="*/ 2081 w 16534"/>
              <a:gd name="connsiteY7" fmla="*/ 13742 h 111471"/>
              <a:gd name="connsiteX8" fmla="*/ 0 w 16534"/>
              <a:gd name="connsiteY8" fmla="*/ 8076 h 111471"/>
              <a:gd name="connsiteX9" fmla="*/ 15097 w 16534"/>
              <a:gd name="connsiteY9" fmla="*/ 111471 h 111471"/>
              <a:gd name="connsiteX10" fmla="*/ 1122 w 16534"/>
              <a:gd name="connsiteY10" fmla="*/ 111471 h 111471"/>
              <a:gd name="connsiteX11" fmla="*/ 1122 w 16534"/>
              <a:gd name="connsiteY11" fmla="*/ 29757 h 111471"/>
              <a:gd name="connsiteX12" fmla="*/ 15097 w 16534"/>
              <a:gd name="connsiteY12" fmla="*/ 29757 h 111471"/>
              <a:gd name="connsiteX13" fmla="*/ 15097 w 16534"/>
              <a:gd name="connsiteY13" fmla="*/ 111471 h 111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34" h="111471">
                <a:moveTo>
                  <a:pt x="0" y="8076"/>
                </a:moveTo>
                <a:cubicBezTo>
                  <a:pt x="0" y="5804"/>
                  <a:pt x="698" y="3901"/>
                  <a:pt x="2081" y="2341"/>
                </a:cubicBezTo>
                <a:cubicBezTo>
                  <a:pt x="3463" y="780"/>
                  <a:pt x="5516" y="0"/>
                  <a:pt x="8240" y="0"/>
                </a:cubicBezTo>
                <a:cubicBezTo>
                  <a:pt x="10964" y="0"/>
                  <a:pt x="13017" y="780"/>
                  <a:pt x="14427" y="2341"/>
                </a:cubicBezTo>
                <a:cubicBezTo>
                  <a:pt x="15836" y="3901"/>
                  <a:pt x="16535" y="5817"/>
                  <a:pt x="16535" y="8076"/>
                </a:cubicBezTo>
                <a:cubicBezTo>
                  <a:pt x="16535" y="10334"/>
                  <a:pt x="15823" y="12237"/>
                  <a:pt x="14427" y="13742"/>
                </a:cubicBezTo>
                <a:cubicBezTo>
                  <a:pt x="13017" y="15248"/>
                  <a:pt x="10950" y="16014"/>
                  <a:pt x="8240" y="16014"/>
                </a:cubicBezTo>
                <a:cubicBezTo>
                  <a:pt x="5530" y="16014"/>
                  <a:pt x="3463" y="15262"/>
                  <a:pt x="2081" y="13742"/>
                </a:cubicBezTo>
                <a:cubicBezTo>
                  <a:pt x="698" y="12223"/>
                  <a:pt x="0" y="10348"/>
                  <a:pt x="0" y="8076"/>
                </a:cubicBezTo>
                <a:close/>
                <a:moveTo>
                  <a:pt x="15097" y="111471"/>
                </a:moveTo>
                <a:lnTo>
                  <a:pt x="1122" y="111471"/>
                </a:lnTo>
                <a:lnTo>
                  <a:pt x="1122" y="29757"/>
                </a:lnTo>
                <a:lnTo>
                  <a:pt x="15097" y="29757"/>
                </a:lnTo>
                <a:lnTo>
                  <a:pt x="15097" y="111471"/>
                </a:lnTo>
                <a:close/>
              </a:path>
            </a:pathLst>
          </a:custGeom>
          <a:solidFill>
            <a:srgbClr val="000000"/>
          </a:solidFill>
          <a:ln w="0" cap="flat">
            <a:noFill/>
            <a:prstDash val="solid"/>
            <a:miter/>
          </a:ln>
        </p:spPr>
        <p:txBody>
          <a:bodyPr rtlCol="0" anchor="ctr"/>
          <a:lstStyle/>
          <a:p>
            <a:endParaRPr lang="da-DK" sz="1200" dirty="0"/>
          </a:p>
        </p:txBody>
      </p:sp>
      <p:sp>
        <p:nvSpPr>
          <p:cNvPr id="34" name="Freeform: Shape 33">
            <a:extLst>
              <a:ext uri="{FF2B5EF4-FFF2-40B4-BE49-F238E27FC236}">
                <a16:creationId xmlns:a16="http://schemas.microsoft.com/office/drawing/2014/main" id="{87A38A88-1D58-4440-5B17-5BFF90D305CD}"/>
              </a:ext>
            </a:extLst>
          </p:cNvPr>
          <p:cNvSpPr/>
          <p:nvPr/>
        </p:nvSpPr>
        <p:spPr>
          <a:xfrm>
            <a:off x="7886024" y="4547318"/>
            <a:ext cx="85934" cy="62415"/>
          </a:xfrm>
          <a:custGeom>
            <a:avLst/>
            <a:gdLst>
              <a:gd name="connsiteX0" fmla="*/ 13236 w 114578"/>
              <a:gd name="connsiteY0" fmla="*/ 1506 h 83220"/>
              <a:gd name="connsiteX1" fmla="*/ 13619 w 114578"/>
              <a:gd name="connsiteY1" fmla="*/ 10567 h 83220"/>
              <a:gd name="connsiteX2" fmla="*/ 37860 w 114578"/>
              <a:gd name="connsiteY2" fmla="*/ 0 h 83220"/>
              <a:gd name="connsiteX3" fmla="*/ 61197 w 114578"/>
              <a:gd name="connsiteY3" fmla="*/ 13140 h 83220"/>
              <a:gd name="connsiteX4" fmla="*/ 71805 w 114578"/>
              <a:gd name="connsiteY4" fmla="*/ 3627 h 83220"/>
              <a:gd name="connsiteX5" fmla="*/ 87244 w 114578"/>
              <a:gd name="connsiteY5" fmla="*/ 0 h 83220"/>
              <a:gd name="connsiteX6" fmla="*/ 114578 w 114578"/>
              <a:gd name="connsiteY6" fmla="*/ 28470 h 83220"/>
              <a:gd name="connsiteX7" fmla="*/ 114578 w 114578"/>
              <a:gd name="connsiteY7" fmla="*/ 83220 h 83220"/>
              <a:gd name="connsiteX8" fmla="*/ 100603 w 114578"/>
              <a:gd name="connsiteY8" fmla="*/ 83220 h 83220"/>
              <a:gd name="connsiteX9" fmla="*/ 100603 w 114578"/>
              <a:gd name="connsiteY9" fmla="*/ 29291 h 83220"/>
              <a:gd name="connsiteX10" fmla="*/ 96606 w 114578"/>
              <a:gd name="connsiteY10" fmla="*/ 16192 h 83220"/>
              <a:gd name="connsiteX11" fmla="*/ 83165 w 114578"/>
              <a:gd name="connsiteY11" fmla="*/ 11853 h 83220"/>
              <a:gd name="connsiteX12" fmla="*/ 70244 w 114578"/>
              <a:gd name="connsiteY12" fmla="*/ 16493 h 83220"/>
              <a:gd name="connsiteX13" fmla="*/ 64277 w 114578"/>
              <a:gd name="connsiteY13" fmla="*/ 28990 h 83220"/>
              <a:gd name="connsiteX14" fmla="*/ 64277 w 114578"/>
              <a:gd name="connsiteY14" fmla="*/ 83220 h 83220"/>
              <a:gd name="connsiteX15" fmla="*/ 50233 w 114578"/>
              <a:gd name="connsiteY15" fmla="*/ 83220 h 83220"/>
              <a:gd name="connsiteX16" fmla="*/ 50233 w 114578"/>
              <a:gd name="connsiteY16" fmla="*/ 29675 h 83220"/>
              <a:gd name="connsiteX17" fmla="*/ 32782 w 114578"/>
              <a:gd name="connsiteY17" fmla="*/ 11853 h 83220"/>
              <a:gd name="connsiteX18" fmla="*/ 13975 w 114578"/>
              <a:gd name="connsiteY18" fmla="*/ 23556 h 83220"/>
              <a:gd name="connsiteX19" fmla="*/ 13975 w 114578"/>
              <a:gd name="connsiteY19" fmla="*/ 83220 h 83220"/>
              <a:gd name="connsiteX20" fmla="*/ 0 w 114578"/>
              <a:gd name="connsiteY20" fmla="*/ 83220 h 83220"/>
              <a:gd name="connsiteX21" fmla="*/ 0 w 114578"/>
              <a:gd name="connsiteY21" fmla="*/ 1506 h 83220"/>
              <a:gd name="connsiteX22" fmla="*/ 13222 w 114578"/>
              <a:gd name="connsiteY22" fmla="*/ 1506 h 8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578" h="83220">
                <a:moveTo>
                  <a:pt x="13236" y="1506"/>
                </a:moveTo>
                <a:lnTo>
                  <a:pt x="13619" y="10567"/>
                </a:lnTo>
                <a:cubicBezTo>
                  <a:pt x="19614" y="3518"/>
                  <a:pt x="27690" y="0"/>
                  <a:pt x="37860" y="0"/>
                </a:cubicBezTo>
                <a:cubicBezTo>
                  <a:pt x="49289" y="0"/>
                  <a:pt x="57063" y="4380"/>
                  <a:pt x="61197" y="13140"/>
                </a:cubicBezTo>
                <a:cubicBezTo>
                  <a:pt x="63921" y="9212"/>
                  <a:pt x="67452" y="6036"/>
                  <a:pt x="71805" y="3627"/>
                </a:cubicBezTo>
                <a:cubicBezTo>
                  <a:pt x="76157" y="1204"/>
                  <a:pt x="81304" y="0"/>
                  <a:pt x="87244" y="0"/>
                </a:cubicBezTo>
                <a:cubicBezTo>
                  <a:pt x="105161" y="0"/>
                  <a:pt x="114277" y="9485"/>
                  <a:pt x="114578" y="28470"/>
                </a:cubicBezTo>
                <a:lnTo>
                  <a:pt x="114578" y="83220"/>
                </a:lnTo>
                <a:lnTo>
                  <a:pt x="100603" y="83220"/>
                </a:lnTo>
                <a:lnTo>
                  <a:pt x="100603" y="29291"/>
                </a:lnTo>
                <a:cubicBezTo>
                  <a:pt x="100603" y="23447"/>
                  <a:pt x="99262" y="19080"/>
                  <a:pt x="96606" y="16192"/>
                </a:cubicBezTo>
                <a:cubicBezTo>
                  <a:pt x="93937" y="13291"/>
                  <a:pt x="89462" y="11853"/>
                  <a:pt x="83165" y="11853"/>
                </a:cubicBezTo>
                <a:cubicBezTo>
                  <a:pt x="77978" y="11853"/>
                  <a:pt x="73680" y="13400"/>
                  <a:pt x="70244" y="16493"/>
                </a:cubicBezTo>
                <a:cubicBezTo>
                  <a:pt x="66822" y="19587"/>
                  <a:pt x="64838" y="23761"/>
                  <a:pt x="64277" y="28990"/>
                </a:cubicBezTo>
                <a:lnTo>
                  <a:pt x="64277" y="83220"/>
                </a:lnTo>
                <a:lnTo>
                  <a:pt x="50233" y="83220"/>
                </a:lnTo>
                <a:lnTo>
                  <a:pt x="50233" y="29675"/>
                </a:lnTo>
                <a:cubicBezTo>
                  <a:pt x="50233" y="17794"/>
                  <a:pt x="44416" y="11853"/>
                  <a:pt x="32782" y="11853"/>
                </a:cubicBezTo>
                <a:cubicBezTo>
                  <a:pt x="23611" y="11853"/>
                  <a:pt x="17356" y="15754"/>
                  <a:pt x="13975" y="23556"/>
                </a:cubicBezTo>
                <a:lnTo>
                  <a:pt x="13975" y="83220"/>
                </a:lnTo>
                <a:lnTo>
                  <a:pt x="0" y="83220"/>
                </a:lnTo>
                <a:lnTo>
                  <a:pt x="0" y="1506"/>
                </a:lnTo>
                <a:lnTo>
                  <a:pt x="13222" y="1506"/>
                </a:lnTo>
                <a:close/>
              </a:path>
            </a:pathLst>
          </a:custGeom>
          <a:solidFill>
            <a:srgbClr val="000000"/>
          </a:solidFill>
          <a:ln w="0" cap="flat">
            <a:noFill/>
            <a:prstDash val="solid"/>
            <a:miter/>
          </a:ln>
        </p:spPr>
        <p:txBody>
          <a:bodyPr rtlCol="0" anchor="ctr"/>
          <a:lstStyle/>
          <a:p>
            <a:endParaRPr lang="da-DK" sz="1200" dirty="0"/>
          </a:p>
        </p:txBody>
      </p:sp>
      <p:sp>
        <p:nvSpPr>
          <p:cNvPr id="35" name="Freeform: Shape 34">
            <a:extLst>
              <a:ext uri="{FF2B5EF4-FFF2-40B4-BE49-F238E27FC236}">
                <a16:creationId xmlns:a16="http://schemas.microsoft.com/office/drawing/2014/main" id="{B20B0E2C-42A1-6A1C-D825-26A50148ECD5}"/>
              </a:ext>
            </a:extLst>
          </p:cNvPr>
          <p:cNvSpPr/>
          <p:nvPr/>
        </p:nvSpPr>
        <p:spPr>
          <a:xfrm>
            <a:off x="7985786" y="4547338"/>
            <a:ext cx="50589" cy="63524"/>
          </a:xfrm>
          <a:custGeom>
            <a:avLst/>
            <a:gdLst>
              <a:gd name="connsiteX0" fmla="*/ 52779 w 67452"/>
              <a:gd name="connsiteY0" fmla="*/ 83193 h 84698"/>
              <a:gd name="connsiteX1" fmla="*/ 50822 w 67452"/>
              <a:gd name="connsiteY1" fmla="*/ 74583 h 84698"/>
              <a:gd name="connsiteX2" fmla="*/ 27567 w 67452"/>
              <a:gd name="connsiteY2" fmla="*/ 84698 h 84698"/>
              <a:gd name="connsiteX3" fmla="*/ 7747 w 67452"/>
              <a:gd name="connsiteY3" fmla="*/ 77868 h 84698"/>
              <a:gd name="connsiteX4" fmla="*/ 0 w 67452"/>
              <a:gd name="connsiteY4" fmla="*/ 60540 h 84698"/>
              <a:gd name="connsiteX5" fmla="*/ 9704 w 67452"/>
              <a:gd name="connsiteY5" fmla="*/ 40720 h 84698"/>
              <a:gd name="connsiteX6" fmla="*/ 37011 w 67452"/>
              <a:gd name="connsiteY6" fmla="*/ 33658 h 84698"/>
              <a:gd name="connsiteX7" fmla="*/ 50603 w 67452"/>
              <a:gd name="connsiteY7" fmla="*/ 33658 h 84698"/>
              <a:gd name="connsiteX8" fmla="*/ 50603 w 67452"/>
              <a:gd name="connsiteY8" fmla="*/ 27238 h 84698"/>
              <a:gd name="connsiteX9" fmla="*/ 46223 w 67452"/>
              <a:gd name="connsiteY9" fmla="*/ 15576 h 84698"/>
              <a:gd name="connsiteX10" fmla="*/ 33302 w 67452"/>
              <a:gd name="connsiteY10" fmla="*/ 11237 h 84698"/>
              <a:gd name="connsiteX11" fmla="*/ 20764 w 67452"/>
              <a:gd name="connsiteY11" fmla="*/ 15015 h 84698"/>
              <a:gd name="connsiteX12" fmla="*/ 15700 w 67452"/>
              <a:gd name="connsiteY12" fmla="*/ 24158 h 84698"/>
              <a:gd name="connsiteX13" fmla="*/ 1656 w 67452"/>
              <a:gd name="connsiteY13" fmla="*/ 24158 h 84698"/>
              <a:gd name="connsiteX14" fmla="*/ 5995 w 67452"/>
              <a:gd name="connsiteY14" fmla="*/ 12346 h 84698"/>
              <a:gd name="connsiteX15" fmla="*/ 17780 w 67452"/>
              <a:gd name="connsiteY15" fmla="*/ 3326 h 84698"/>
              <a:gd name="connsiteX16" fmla="*/ 34137 w 67452"/>
              <a:gd name="connsiteY16" fmla="*/ 0 h 84698"/>
              <a:gd name="connsiteX17" fmla="*/ 56269 w 67452"/>
              <a:gd name="connsiteY17" fmla="*/ 7063 h 84698"/>
              <a:gd name="connsiteX18" fmla="*/ 64578 w 67452"/>
              <a:gd name="connsiteY18" fmla="*/ 26513 h 84698"/>
              <a:gd name="connsiteX19" fmla="*/ 64578 w 67452"/>
              <a:gd name="connsiteY19" fmla="*/ 64126 h 84698"/>
              <a:gd name="connsiteX20" fmla="*/ 67452 w 67452"/>
              <a:gd name="connsiteY20" fmla="*/ 82029 h 84698"/>
              <a:gd name="connsiteX21" fmla="*/ 67452 w 67452"/>
              <a:gd name="connsiteY21" fmla="*/ 83234 h 84698"/>
              <a:gd name="connsiteX22" fmla="*/ 52806 w 67452"/>
              <a:gd name="connsiteY22" fmla="*/ 83234 h 84698"/>
              <a:gd name="connsiteX23" fmla="*/ 29592 w 67452"/>
              <a:gd name="connsiteY23" fmla="*/ 72544 h 84698"/>
              <a:gd name="connsiteX24" fmla="*/ 42048 w 67452"/>
              <a:gd name="connsiteY24" fmla="*/ 69149 h 84698"/>
              <a:gd name="connsiteX25" fmla="*/ 50575 w 67452"/>
              <a:gd name="connsiteY25" fmla="*/ 60307 h 84698"/>
              <a:gd name="connsiteX26" fmla="*/ 50575 w 67452"/>
              <a:gd name="connsiteY26" fmla="*/ 43540 h 84698"/>
              <a:gd name="connsiteX27" fmla="*/ 39625 w 67452"/>
              <a:gd name="connsiteY27" fmla="*/ 43540 h 84698"/>
              <a:gd name="connsiteX28" fmla="*/ 13948 w 67452"/>
              <a:gd name="connsiteY28" fmla="*/ 58569 h 84698"/>
              <a:gd name="connsiteX29" fmla="*/ 18328 w 67452"/>
              <a:gd name="connsiteY29" fmla="*/ 68834 h 84698"/>
              <a:gd name="connsiteX30" fmla="*/ 29579 w 67452"/>
              <a:gd name="connsiteY30" fmla="*/ 72530 h 8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7452" h="84698">
                <a:moveTo>
                  <a:pt x="52779" y="83193"/>
                </a:moveTo>
                <a:cubicBezTo>
                  <a:pt x="51972" y="81578"/>
                  <a:pt x="51314" y="78717"/>
                  <a:pt x="50822" y="74583"/>
                </a:cubicBezTo>
                <a:cubicBezTo>
                  <a:pt x="44320" y="81331"/>
                  <a:pt x="36573" y="84698"/>
                  <a:pt x="27567" y="84698"/>
                </a:cubicBezTo>
                <a:cubicBezTo>
                  <a:pt x="19505" y="84698"/>
                  <a:pt x="12907" y="82426"/>
                  <a:pt x="7747" y="77868"/>
                </a:cubicBezTo>
                <a:cubicBezTo>
                  <a:pt x="2587" y="73310"/>
                  <a:pt x="0" y="67534"/>
                  <a:pt x="0" y="60540"/>
                </a:cubicBezTo>
                <a:cubicBezTo>
                  <a:pt x="0" y="52026"/>
                  <a:pt x="3230" y="45429"/>
                  <a:pt x="9704" y="40720"/>
                </a:cubicBezTo>
                <a:cubicBezTo>
                  <a:pt x="16179" y="36012"/>
                  <a:pt x="25267" y="33658"/>
                  <a:pt x="37011" y="33658"/>
                </a:cubicBezTo>
                <a:lnTo>
                  <a:pt x="50603" y="33658"/>
                </a:lnTo>
                <a:lnTo>
                  <a:pt x="50603" y="27238"/>
                </a:lnTo>
                <a:cubicBezTo>
                  <a:pt x="50603" y="22352"/>
                  <a:pt x="49138" y="18464"/>
                  <a:pt x="46223" y="15576"/>
                </a:cubicBezTo>
                <a:cubicBezTo>
                  <a:pt x="43307" y="12675"/>
                  <a:pt x="38996" y="11237"/>
                  <a:pt x="33302" y="11237"/>
                </a:cubicBezTo>
                <a:cubicBezTo>
                  <a:pt x="28319" y="11237"/>
                  <a:pt x="24131" y="12497"/>
                  <a:pt x="20764" y="15015"/>
                </a:cubicBezTo>
                <a:cubicBezTo>
                  <a:pt x="17397" y="17534"/>
                  <a:pt x="15700" y="20586"/>
                  <a:pt x="15700" y="24158"/>
                </a:cubicBezTo>
                <a:lnTo>
                  <a:pt x="1656" y="24158"/>
                </a:lnTo>
                <a:cubicBezTo>
                  <a:pt x="1656" y="20080"/>
                  <a:pt x="3107" y="16138"/>
                  <a:pt x="5995" y="12346"/>
                </a:cubicBezTo>
                <a:cubicBezTo>
                  <a:pt x="8883" y="8555"/>
                  <a:pt x="12812" y="5543"/>
                  <a:pt x="17780" y="3326"/>
                </a:cubicBezTo>
                <a:cubicBezTo>
                  <a:pt x="22735" y="1109"/>
                  <a:pt x="28183" y="0"/>
                  <a:pt x="34137" y="0"/>
                </a:cubicBezTo>
                <a:cubicBezTo>
                  <a:pt x="43554" y="0"/>
                  <a:pt x="50931" y="2354"/>
                  <a:pt x="56269" y="7063"/>
                </a:cubicBezTo>
                <a:cubicBezTo>
                  <a:pt x="61607" y="11771"/>
                  <a:pt x="64372" y="18245"/>
                  <a:pt x="64578" y="26513"/>
                </a:cubicBezTo>
                <a:lnTo>
                  <a:pt x="64578" y="64126"/>
                </a:lnTo>
                <a:cubicBezTo>
                  <a:pt x="64578" y="71627"/>
                  <a:pt x="65536" y="77594"/>
                  <a:pt x="67452" y="82029"/>
                </a:cubicBezTo>
                <a:lnTo>
                  <a:pt x="67452" y="83234"/>
                </a:lnTo>
                <a:lnTo>
                  <a:pt x="52806" y="83234"/>
                </a:lnTo>
                <a:close/>
                <a:moveTo>
                  <a:pt x="29592" y="72544"/>
                </a:moveTo>
                <a:cubicBezTo>
                  <a:pt x="33972" y="72544"/>
                  <a:pt x="38120" y="71408"/>
                  <a:pt x="42048" y="69149"/>
                </a:cubicBezTo>
                <a:cubicBezTo>
                  <a:pt x="45976" y="66891"/>
                  <a:pt x="48823" y="63934"/>
                  <a:pt x="50575" y="60307"/>
                </a:cubicBezTo>
                <a:lnTo>
                  <a:pt x="50575" y="43540"/>
                </a:lnTo>
                <a:lnTo>
                  <a:pt x="39625" y="43540"/>
                </a:lnTo>
                <a:cubicBezTo>
                  <a:pt x="22502" y="43540"/>
                  <a:pt x="13948" y="48550"/>
                  <a:pt x="13948" y="58569"/>
                </a:cubicBezTo>
                <a:cubicBezTo>
                  <a:pt x="13948" y="62949"/>
                  <a:pt x="15412" y="66371"/>
                  <a:pt x="18328" y="68834"/>
                </a:cubicBezTo>
                <a:cubicBezTo>
                  <a:pt x="21243" y="71298"/>
                  <a:pt x="24993" y="72530"/>
                  <a:pt x="29579" y="72530"/>
                </a:cubicBezTo>
                <a:close/>
              </a:path>
            </a:pathLst>
          </a:custGeom>
          <a:solidFill>
            <a:srgbClr val="000000"/>
          </a:solidFill>
          <a:ln w="0" cap="flat">
            <a:noFill/>
            <a:prstDash val="solid"/>
            <a:miter/>
          </a:ln>
        </p:spPr>
        <p:txBody>
          <a:bodyPr rtlCol="0" anchor="ctr"/>
          <a:lstStyle/>
          <a:p>
            <a:endParaRPr lang="da-DK" sz="1200" dirty="0"/>
          </a:p>
        </p:txBody>
      </p:sp>
      <p:sp>
        <p:nvSpPr>
          <p:cNvPr id="36" name="Freeform: Shape 35">
            <a:extLst>
              <a:ext uri="{FF2B5EF4-FFF2-40B4-BE49-F238E27FC236}">
                <a16:creationId xmlns:a16="http://schemas.microsoft.com/office/drawing/2014/main" id="{BEF62119-0D6A-7C7D-25DA-F518BFFC9FC9}"/>
              </a:ext>
            </a:extLst>
          </p:cNvPr>
          <p:cNvSpPr/>
          <p:nvPr/>
        </p:nvSpPr>
        <p:spPr>
          <a:xfrm>
            <a:off x="8047852" y="4522723"/>
            <a:ext cx="51718" cy="88130"/>
          </a:xfrm>
          <a:custGeom>
            <a:avLst/>
            <a:gdLst>
              <a:gd name="connsiteX0" fmla="*/ 0 w 68957"/>
              <a:gd name="connsiteY0" fmla="*/ 74474 h 117507"/>
              <a:gd name="connsiteX1" fmla="*/ 8911 w 68957"/>
              <a:gd name="connsiteY1" fmla="*/ 44224 h 117507"/>
              <a:gd name="connsiteX2" fmla="*/ 32248 w 68957"/>
              <a:gd name="connsiteY2" fmla="*/ 32782 h 117507"/>
              <a:gd name="connsiteX3" fmla="*/ 54983 w 68957"/>
              <a:gd name="connsiteY3" fmla="*/ 42596 h 117507"/>
              <a:gd name="connsiteX4" fmla="*/ 54983 w 68957"/>
              <a:gd name="connsiteY4" fmla="*/ 0 h 117507"/>
              <a:gd name="connsiteX5" fmla="*/ 68958 w 68957"/>
              <a:gd name="connsiteY5" fmla="*/ 0 h 117507"/>
              <a:gd name="connsiteX6" fmla="*/ 68958 w 68957"/>
              <a:gd name="connsiteY6" fmla="*/ 116002 h 117507"/>
              <a:gd name="connsiteX7" fmla="*/ 56119 w 68957"/>
              <a:gd name="connsiteY7" fmla="*/ 116002 h 117507"/>
              <a:gd name="connsiteX8" fmla="*/ 55434 w 68957"/>
              <a:gd name="connsiteY8" fmla="*/ 107242 h 117507"/>
              <a:gd name="connsiteX9" fmla="*/ 32097 w 68957"/>
              <a:gd name="connsiteY9" fmla="*/ 117507 h 117507"/>
              <a:gd name="connsiteX10" fmla="*/ 8952 w 68957"/>
              <a:gd name="connsiteY10" fmla="*/ 105873 h 117507"/>
              <a:gd name="connsiteX11" fmla="*/ 0 w 68957"/>
              <a:gd name="connsiteY11" fmla="*/ 75514 h 117507"/>
              <a:gd name="connsiteX12" fmla="*/ 0 w 68957"/>
              <a:gd name="connsiteY12" fmla="*/ 74460 h 117507"/>
              <a:gd name="connsiteX13" fmla="*/ 13975 w 68957"/>
              <a:gd name="connsiteY13" fmla="*/ 76061 h 117507"/>
              <a:gd name="connsiteX14" fmla="*/ 19710 w 68957"/>
              <a:gd name="connsiteY14" fmla="*/ 97811 h 117507"/>
              <a:gd name="connsiteX15" fmla="*/ 35574 w 68957"/>
              <a:gd name="connsiteY15" fmla="*/ 105668 h 117507"/>
              <a:gd name="connsiteX16" fmla="*/ 54983 w 68957"/>
              <a:gd name="connsiteY16" fmla="*/ 93732 h 117507"/>
              <a:gd name="connsiteX17" fmla="*/ 54983 w 68957"/>
              <a:gd name="connsiteY17" fmla="*/ 56201 h 117507"/>
              <a:gd name="connsiteX18" fmla="*/ 35724 w 68957"/>
              <a:gd name="connsiteY18" fmla="*/ 44649 h 117507"/>
              <a:gd name="connsiteX19" fmla="*/ 19710 w 68957"/>
              <a:gd name="connsiteY19" fmla="*/ 52574 h 117507"/>
              <a:gd name="connsiteX20" fmla="*/ 13975 w 68957"/>
              <a:gd name="connsiteY20" fmla="*/ 76061 h 11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957" h="117507">
                <a:moveTo>
                  <a:pt x="0" y="74474"/>
                </a:moveTo>
                <a:cubicBezTo>
                  <a:pt x="0" y="61936"/>
                  <a:pt x="2970" y="51848"/>
                  <a:pt x="8911" y="44224"/>
                </a:cubicBezTo>
                <a:cubicBezTo>
                  <a:pt x="14851" y="36600"/>
                  <a:pt x="22625" y="32782"/>
                  <a:pt x="32248" y="32782"/>
                </a:cubicBezTo>
                <a:cubicBezTo>
                  <a:pt x="41870" y="32782"/>
                  <a:pt x="49385" y="36053"/>
                  <a:pt x="54983" y="42596"/>
                </a:cubicBezTo>
                <a:lnTo>
                  <a:pt x="54983" y="0"/>
                </a:lnTo>
                <a:lnTo>
                  <a:pt x="68958" y="0"/>
                </a:lnTo>
                <a:lnTo>
                  <a:pt x="68958" y="116002"/>
                </a:lnTo>
                <a:lnTo>
                  <a:pt x="56119" y="116002"/>
                </a:lnTo>
                <a:lnTo>
                  <a:pt x="55434" y="107242"/>
                </a:lnTo>
                <a:cubicBezTo>
                  <a:pt x="49850" y="114085"/>
                  <a:pt x="42062" y="117507"/>
                  <a:pt x="32097" y="117507"/>
                </a:cubicBezTo>
                <a:cubicBezTo>
                  <a:pt x="22133" y="117507"/>
                  <a:pt x="14919" y="113634"/>
                  <a:pt x="8952" y="105873"/>
                </a:cubicBezTo>
                <a:cubicBezTo>
                  <a:pt x="2984" y="98126"/>
                  <a:pt x="0" y="87997"/>
                  <a:pt x="0" y="75514"/>
                </a:cubicBezTo>
                <a:lnTo>
                  <a:pt x="0" y="74460"/>
                </a:lnTo>
                <a:close/>
                <a:moveTo>
                  <a:pt x="13975" y="76061"/>
                </a:moveTo>
                <a:cubicBezTo>
                  <a:pt x="13975" y="85328"/>
                  <a:pt x="15891" y="92582"/>
                  <a:pt x="19710" y="97811"/>
                </a:cubicBezTo>
                <a:cubicBezTo>
                  <a:pt x="23529" y="103053"/>
                  <a:pt x="28826" y="105668"/>
                  <a:pt x="35574" y="105668"/>
                </a:cubicBezTo>
                <a:cubicBezTo>
                  <a:pt x="44430" y="105668"/>
                  <a:pt x="50904" y="101684"/>
                  <a:pt x="54983" y="93732"/>
                </a:cubicBezTo>
                <a:lnTo>
                  <a:pt x="54983" y="56201"/>
                </a:lnTo>
                <a:cubicBezTo>
                  <a:pt x="50808" y="48495"/>
                  <a:pt x="44389" y="44649"/>
                  <a:pt x="35724" y="44649"/>
                </a:cubicBezTo>
                <a:cubicBezTo>
                  <a:pt x="28881" y="44649"/>
                  <a:pt x="23543" y="47290"/>
                  <a:pt x="19710" y="52574"/>
                </a:cubicBezTo>
                <a:cubicBezTo>
                  <a:pt x="15877" y="57857"/>
                  <a:pt x="13975" y="65686"/>
                  <a:pt x="13975" y="76061"/>
                </a:cubicBezTo>
                <a:close/>
              </a:path>
            </a:pathLst>
          </a:custGeom>
          <a:solidFill>
            <a:srgbClr val="000000"/>
          </a:solidFill>
          <a:ln w="0" cap="flat">
            <a:noFill/>
            <a:prstDash val="solid"/>
            <a:miter/>
          </a:ln>
        </p:spPr>
        <p:txBody>
          <a:bodyPr rtlCol="0" anchor="ctr"/>
          <a:lstStyle/>
          <a:p>
            <a:endParaRPr lang="da-DK" sz="1200" dirty="0"/>
          </a:p>
        </p:txBody>
      </p:sp>
      <p:sp>
        <p:nvSpPr>
          <p:cNvPr id="37" name="Freeform: Shape 36">
            <a:extLst>
              <a:ext uri="{FF2B5EF4-FFF2-40B4-BE49-F238E27FC236}">
                <a16:creationId xmlns:a16="http://schemas.microsoft.com/office/drawing/2014/main" id="{FDE53E49-941B-A346-E3D7-7D01609FF368}"/>
              </a:ext>
            </a:extLst>
          </p:cNvPr>
          <p:cNvSpPr/>
          <p:nvPr/>
        </p:nvSpPr>
        <p:spPr>
          <a:xfrm>
            <a:off x="8113839" y="4547338"/>
            <a:ext cx="50589" cy="63524"/>
          </a:xfrm>
          <a:custGeom>
            <a:avLst/>
            <a:gdLst>
              <a:gd name="connsiteX0" fmla="*/ 52779 w 67452"/>
              <a:gd name="connsiteY0" fmla="*/ 83193 h 84698"/>
              <a:gd name="connsiteX1" fmla="*/ 50822 w 67452"/>
              <a:gd name="connsiteY1" fmla="*/ 74583 h 84698"/>
              <a:gd name="connsiteX2" fmla="*/ 27567 w 67452"/>
              <a:gd name="connsiteY2" fmla="*/ 84698 h 84698"/>
              <a:gd name="connsiteX3" fmla="*/ 7747 w 67452"/>
              <a:gd name="connsiteY3" fmla="*/ 77868 h 84698"/>
              <a:gd name="connsiteX4" fmla="*/ 0 w 67452"/>
              <a:gd name="connsiteY4" fmla="*/ 60540 h 84698"/>
              <a:gd name="connsiteX5" fmla="*/ 9704 w 67452"/>
              <a:gd name="connsiteY5" fmla="*/ 40720 h 84698"/>
              <a:gd name="connsiteX6" fmla="*/ 37011 w 67452"/>
              <a:gd name="connsiteY6" fmla="*/ 33658 h 84698"/>
              <a:gd name="connsiteX7" fmla="*/ 50603 w 67452"/>
              <a:gd name="connsiteY7" fmla="*/ 33658 h 84698"/>
              <a:gd name="connsiteX8" fmla="*/ 50603 w 67452"/>
              <a:gd name="connsiteY8" fmla="*/ 27238 h 84698"/>
              <a:gd name="connsiteX9" fmla="*/ 46223 w 67452"/>
              <a:gd name="connsiteY9" fmla="*/ 15576 h 84698"/>
              <a:gd name="connsiteX10" fmla="*/ 33302 w 67452"/>
              <a:gd name="connsiteY10" fmla="*/ 11237 h 84698"/>
              <a:gd name="connsiteX11" fmla="*/ 20764 w 67452"/>
              <a:gd name="connsiteY11" fmla="*/ 15015 h 84698"/>
              <a:gd name="connsiteX12" fmla="*/ 15700 w 67452"/>
              <a:gd name="connsiteY12" fmla="*/ 24158 h 84698"/>
              <a:gd name="connsiteX13" fmla="*/ 1656 w 67452"/>
              <a:gd name="connsiteY13" fmla="*/ 24158 h 84698"/>
              <a:gd name="connsiteX14" fmla="*/ 5995 w 67452"/>
              <a:gd name="connsiteY14" fmla="*/ 12346 h 84698"/>
              <a:gd name="connsiteX15" fmla="*/ 17780 w 67452"/>
              <a:gd name="connsiteY15" fmla="*/ 3326 h 84698"/>
              <a:gd name="connsiteX16" fmla="*/ 34137 w 67452"/>
              <a:gd name="connsiteY16" fmla="*/ 0 h 84698"/>
              <a:gd name="connsiteX17" fmla="*/ 56269 w 67452"/>
              <a:gd name="connsiteY17" fmla="*/ 7063 h 84698"/>
              <a:gd name="connsiteX18" fmla="*/ 64578 w 67452"/>
              <a:gd name="connsiteY18" fmla="*/ 26513 h 84698"/>
              <a:gd name="connsiteX19" fmla="*/ 64578 w 67452"/>
              <a:gd name="connsiteY19" fmla="*/ 64126 h 84698"/>
              <a:gd name="connsiteX20" fmla="*/ 67452 w 67452"/>
              <a:gd name="connsiteY20" fmla="*/ 82029 h 84698"/>
              <a:gd name="connsiteX21" fmla="*/ 67452 w 67452"/>
              <a:gd name="connsiteY21" fmla="*/ 83234 h 84698"/>
              <a:gd name="connsiteX22" fmla="*/ 52806 w 67452"/>
              <a:gd name="connsiteY22" fmla="*/ 83234 h 84698"/>
              <a:gd name="connsiteX23" fmla="*/ 29592 w 67452"/>
              <a:gd name="connsiteY23" fmla="*/ 72544 h 84698"/>
              <a:gd name="connsiteX24" fmla="*/ 42048 w 67452"/>
              <a:gd name="connsiteY24" fmla="*/ 69149 h 84698"/>
              <a:gd name="connsiteX25" fmla="*/ 50575 w 67452"/>
              <a:gd name="connsiteY25" fmla="*/ 60307 h 84698"/>
              <a:gd name="connsiteX26" fmla="*/ 50575 w 67452"/>
              <a:gd name="connsiteY26" fmla="*/ 43540 h 84698"/>
              <a:gd name="connsiteX27" fmla="*/ 39625 w 67452"/>
              <a:gd name="connsiteY27" fmla="*/ 43540 h 84698"/>
              <a:gd name="connsiteX28" fmla="*/ 13948 w 67452"/>
              <a:gd name="connsiteY28" fmla="*/ 58569 h 84698"/>
              <a:gd name="connsiteX29" fmla="*/ 18328 w 67452"/>
              <a:gd name="connsiteY29" fmla="*/ 68834 h 84698"/>
              <a:gd name="connsiteX30" fmla="*/ 29579 w 67452"/>
              <a:gd name="connsiteY30" fmla="*/ 72530 h 8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7452" h="84698">
                <a:moveTo>
                  <a:pt x="52779" y="83193"/>
                </a:moveTo>
                <a:cubicBezTo>
                  <a:pt x="51972" y="81578"/>
                  <a:pt x="51315" y="78717"/>
                  <a:pt x="50822" y="74583"/>
                </a:cubicBezTo>
                <a:cubicBezTo>
                  <a:pt x="44320" y="81331"/>
                  <a:pt x="36573" y="84698"/>
                  <a:pt x="27567" y="84698"/>
                </a:cubicBezTo>
                <a:cubicBezTo>
                  <a:pt x="19505" y="84698"/>
                  <a:pt x="12907" y="82426"/>
                  <a:pt x="7747" y="77868"/>
                </a:cubicBezTo>
                <a:cubicBezTo>
                  <a:pt x="2587" y="73310"/>
                  <a:pt x="0" y="67534"/>
                  <a:pt x="0" y="60540"/>
                </a:cubicBezTo>
                <a:cubicBezTo>
                  <a:pt x="0" y="52026"/>
                  <a:pt x="3230" y="45429"/>
                  <a:pt x="9704" y="40720"/>
                </a:cubicBezTo>
                <a:cubicBezTo>
                  <a:pt x="16179" y="36012"/>
                  <a:pt x="25267" y="33658"/>
                  <a:pt x="37011" y="33658"/>
                </a:cubicBezTo>
                <a:lnTo>
                  <a:pt x="50603" y="33658"/>
                </a:lnTo>
                <a:lnTo>
                  <a:pt x="50603" y="27238"/>
                </a:lnTo>
                <a:cubicBezTo>
                  <a:pt x="50603" y="22352"/>
                  <a:pt x="49138" y="18464"/>
                  <a:pt x="46223" y="15576"/>
                </a:cubicBezTo>
                <a:cubicBezTo>
                  <a:pt x="43307" y="12675"/>
                  <a:pt x="38996" y="11237"/>
                  <a:pt x="33302" y="11237"/>
                </a:cubicBezTo>
                <a:cubicBezTo>
                  <a:pt x="28319" y="11237"/>
                  <a:pt x="24131" y="12497"/>
                  <a:pt x="20764" y="15015"/>
                </a:cubicBezTo>
                <a:cubicBezTo>
                  <a:pt x="17397" y="17534"/>
                  <a:pt x="15700" y="20586"/>
                  <a:pt x="15700" y="24158"/>
                </a:cubicBezTo>
                <a:lnTo>
                  <a:pt x="1656" y="24158"/>
                </a:lnTo>
                <a:cubicBezTo>
                  <a:pt x="1656" y="20080"/>
                  <a:pt x="3107" y="16138"/>
                  <a:pt x="5995" y="12346"/>
                </a:cubicBezTo>
                <a:cubicBezTo>
                  <a:pt x="8883" y="8555"/>
                  <a:pt x="12812" y="5543"/>
                  <a:pt x="17780" y="3326"/>
                </a:cubicBezTo>
                <a:cubicBezTo>
                  <a:pt x="22735" y="1109"/>
                  <a:pt x="28183" y="0"/>
                  <a:pt x="34137" y="0"/>
                </a:cubicBezTo>
                <a:cubicBezTo>
                  <a:pt x="43554" y="0"/>
                  <a:pt x="50931" y="2354"/>
                  <a:pt x="56269" y="7063"/>
                </a:cubicBezTo>
                <a:cubicBezTo>
                  <a:pt x="61607" y="11771"/>
                  <a:pt x="64372" y="18245"/>
                  <a:pt x="64578" y="26513"/>
                </a:cubicBezTo>
                <a:lnTo>
                  <a:pt x="64578" y="64126"/>
                </a:lnTo>
                <a:cubicBezTo>
                  <a:pt x="64578" y="71627"/>
                  <a:pt x="65536" y="77594"/>
                  <a:pt x="67452" y="82029"/>
                </a:cubicBezTo>
                <a:lnTo>
                  <a:pt x="67452" y="83234"/>
                </a:lnTo>
                <a:lnTo>
                  <a:pt x="52806" y="83234"/>
                </a:lnTo>
                <a:close/>
                <a:moveTo>
                  <a:pt x="29592" y="72544"/>
                </a:moveTo>
                <a:cubicBezTo>
                  <a:pt x="33972" y="72544"/>
                  <a:pt x="38120" y="71408"/>
                  <a:pt x="42048" y="69149"/>
                </a:cubicBezTo>
                <a:cubicBezTo>
                  <a:pt x="45976" y="66891"/>
                  <a:pt x="48823" y="63934"/>
                  <a:pt x="50575" y="60307"/>
                </a:cubicBezTo>
                <a:lnTo>
                  <a:pt x="50575" y="43540"/>
                </a:lnTo>
                <a:lnTo>
                  <a:pt x="39625" y="43540"/>
                </a:lnTo>
                <a:cubicBezTo>
                  <a:pt x="22502" y="43540"/>
                  <a:pt x="13948" y="48550"/>
                  <a:pt x="13948" y="58569"/>
                </a:cubicBezTo>
                <a:cubicBezTo>
                  <a:pt x="13948" y="62949"/>
                  <a:pt x="15412" y="66371"/>
                  <a:pt x="18328" y="68834"/>
                </a:cubicBezTo>
                <a:cubicBezTo>
                  <a:pt x="21243" y="71298"/>
                  <a:pt x="24993" y="72530"/>
                  <a:pt x="29579" y="72530"/>
                </a:cubicBezTo>
                <a:close/>
              </a:path>
            </a:pathLst>
          </a:custGeom>
          <a:solidFill>
            <a:srgbClr val="000000"/>
          </a:solidFill>
          <a:ln w="0" cap="flat">
            <a:noFill/>
            <a:prstDash val="solid"/>
            <a:miter/>
          </a:ln>
        </p:spPr>
        <p:txBody>
          <a:bodyPr rtlCol="0" anchor="ctr"/>
          <a:lstStyle/>
          <a:p>
            <a:endParaRPr lang="da-DK" sz="1200" dirty="0"/>
          </a:p>
        </p:txBody>
      </p:sp>
      <p:sp>
        <p:nvSpPr>
          <p:cNvPr id="38" name="Freeform: Shape 37">
            <a:extLst>
              <a:ext uri="{FF2B5EF4-FFF2-40B4-BE49-F238E27FC236}">
                <a16:creationId xmlns:a16="http://schemas.microsoft.com/office/drawing/2014/main" id="{B05296C2-EF70-DC1C-7969-2D9169D2226A}"/>
              </a:ext>
            </a:extLst>
          </p:cNvPr>
          <p:cNvSpPr/>
          <p:nvPr/>
        </p:nvSpPr>
        <p:spPr>
          <a:xfrm>
            <a:off x="8171039" y="4533604"/>
            <a:ext cx="33363" cy="77269"/>
          </a:xfrm>
          <a:custGeom>
            <a:avLst/>
            <a:gdLst>
              <a:gd name="connsiteX0" fmla="*/ 28840 w 44484"/>
              <a:gd name="connsiteY0" fmla="*/ 0 h 103025"/>
              <a:gd name="connsiteX1" fmla="*/ 28840 w 44484"/>
              <a:gd name="connsiteY1" fmla="*/ 19792 h 103025"/>
              <a:gd name="connsiteX2" fmla="*/ 44087 w 44484"/>
              <a:gd name="connsiteY2" fmla="*/ 19792 h 103025"/>
              <a:gd name="connsiteX3" fmla="*/ 44087 w 44484"/>
              <a:gd name="connsiteY3" fmla="*/ 30592 h 103025"/>
              <a:gd name="connsiteX4" fmla="*/ 28840 w 44484"/>
              <a:gd name="connsiteY4" fmla="*/ 30592 h 103025"/>
              <a:gd name="connsiteX5" fmla="*/ 28840 w 44484"/>
              <a:gd name="connsiteY5" fmla="*/ 81331 h 103025"/>
              <a:gd name="connsiteX6" fmla="*/ 30879 w 44484"/>
              <a:gd name="connsiteY6" fmla="*/ 88709 h 103025"/>
              <a:gd name="connsiteX7" fmla="*/ 37832 w 44484"/>
              <a:gd name="connsiteY7" fmla="*/ 91159 h 103025"/>
              <a:gd name="connsiteX8" fmla="*/ 44484 w 44484"/>
              <a:gd name="connsiteY8" fmla="*/ 90255 h 103025"/>
              <a:gd name="connsiteX9" fmla="*/ 44484 w 44484"/>
              <a:gd name="connsiteY9" fmla="*/ 101520 h 103025"/>
              <a:gd name="connsiteX10" fmla="*/ 33767 w 44484"/>
              <a:gd name="connsiteY10" fmla="*/ 103026 h 103025"/>
              <a:gd name="connsiteX11" fmla="*/ 19642 w 44484"/>
              <a:gd name="connsiteY11" fmla="*/ 97359 h 103025"/>
              <a:gd name="connsiteX12" fmla="*/ 14878 w 44484"/>
              <a:gd name="connsiteY12" fmla="*/ 81276 h 103025"/>
              <a:gd name="connsiteX13" fmla="*/ 14878 w 44484"/>
              <a:gd name="connsiteY13" fmla="*/ 30605 h 103025"/>
              <a:gd name="connsiteX14" fmla="*/ 0 w 44484"/>
              <a:gd name="connsiteY14" fmla="*/ 30605 h 103025"/>
              <a:gd name="connsiteX15" fmla="*/ 0 w 44484"/>
              <a:gd name="connsiteY15" fmla="*/ 19806 h 103025"/>
              <a:gd name="connsiteX16" fmla="*/ 14878 w 44484"/>
              <a:gd name="connsiteY16" fmla="*/ 19806 h 103025"/>
              <a:gd name="connsiteX17" fmla="*/ 14878 w 44484"/>
              <a:gd name="connsiteY17" fmla="*/ 14 h 103025"/>
              <a:gd name="connsiteX18" fmla="*/ 28853 w 44484"/>
              <a:gd name="connsiteY18" fmla="*/ 14 h 10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484" h="103025">
                <a:moveTo>
                  <a:pt x="28840" y="0"/>
                </a:moveTo>
                <a:lnTo>
                  <a:pt x="28840" y="19792"/>
                </a:lnTo>
                <a:lnTo>
                  <a:pt x="44087" y="19792"/>
                </a:lnTo>
                <a:lnTo>
                  <a:pt x="44087" y="30592"/>
                </a:lnTo>
                <a:lnTo>
                  <a:pt x="28840" y="30592"/>
                </a:lnTo>
                <a:lnTo>
                  <a:pt x="28840" y="81331"/>
                </a:lnTo>
                <a:cubicBezTo>
                  <a:pt x="28840" y="84602"/>
                  <a:pt x="29524" y="87066"/>
                  <a:pt x="30879" y="88709"/>
                </a:cubicBezTo>
                <a:cubicBezTo>
                  <a:pt x="32234" y="90351"/>
                  <a:pt x="34547" y="91159"/>
                  <a:pt x="37832" y="91159"/>
                </a:cubicBezTo>
                <a:cubicBezTo>
                  <a:pt x="39447" y="91159"/>
                  <a:pt x="41651" y="90858"/>
                  <a:pt x="44484" y="90255"/>
                </a:cubicBezTo>
                <a:lnTo>
                  <a:pt x="44484" y="101520"/>
                </a:lnTo>
                <a:cubicBezTo>
                  <a:pt x="40802" y="102519"/>
                  <a:pt x="37230" y="103026"/>
                  <a:pt x="33767" y="103026"/>
                </a:cubicBezTo>
                <a:cubicBezTo>
                  <a:pt x="27526" y="103026"/>
                  <a:pt x="22817" y="101137"/>
                  <a:pt x="19642" y="97359"/>
                </a:cubicBezTo>
                <a:cubicBezTo>
                  <a:pt x="16466" y="93581"/>
                  <a:pt x="14878" y="88216"/>
                  <a:pt x="14878" y="81276"/>
                </a:cubicBezTo>
                <a:lnTo>
                  <a:pt x="14878" y="30605"/>
                </a:lnTo>
                <a:lnTo>
                  <a:pt x="0" y="30605"/>
                </a:lnTo>
                <a:lnTo>
                  <a:pt x="0" y="19806"/>
                </a:lnTo>
                <a:lnTo>
                  <a:pt x="14878" y="19806"/>
                </a:lnTo>
                <a:lnTo>
                  <a:pt x="14878" y="14"/>
                </a:lnTo>
                <a:lnTo>
                  <a:pt x="28853" y="14"/>
                </a:lnTo>
                <a:close/>
              </a:path>
            </a:pathLst>
          </a:custGeom>
          <a:solidFill>
            <a:srgbClr val="000000"/>
          </a:solidFill>
          <a:ln w="0" cap="flat">
            <a:noFill/>
            <a:prstDash val="solid"/>
            <a:miter/>
          </a:ln>
        </p:spPr>
        <p:txBody>
          <a:bodyPr rtlCol="0" anchor="ctr"/>
          <a:lstStyle/>
          <a:p>
            <a:endParaRPr lang="da-DK" sz="1200" dirty="0"/>
          </a:p>
        </p:txBody>
      </p:sp>
      <p:sp>
        <p:nvSpPr>
          <p:cNvPr id="39" name="Freeform: Shape 38">
            <a:extLst>
              <a:ext uri="{FF2B5EF4-FFF2-40B4-BE49-F238E27FC236}">
                <a16:creationId xmlns:a16="http://schemas.microsoft.com/office/drawing/2014/main" id="{7CC521C5-5271-3562-8576-2B8865E937CA}"/>
              </a:ext>
            </a:extLst>
          </p:cNvPr>
          <p:cNvSpPr/>
          <p:nvPr/>
        </p:nvSpPr>
        <p:spPr>
          <a:xfrm>
            <a:off x="8214371" y="4547338"/>
            <a:ext cx="50599" cy="63524"/>
          </a:xfrm>
          <a:custGeom>
            <a:avLst/>
            <a:gdLst>
              <a:gd name="connsiteX0" fmla="*/ 52779 w 67465"/>
              <a:gd name="connsiteY0" fmla="*/ 83193 h 84698"/>
              <a:gd name="connsiteX1" fmla="*/ 50822 w 67465"/>
              <a:gd name="connsiteY1" fmla="*/ 74583 h 84698"/>
              <a:gd name="connsiteX2" fmla="*/ 27567 w 67465"/>
              <a:gd name="connsiteY2" fmla="*/ 84698 h 84698"/>
              <a:gd name="connsiteX3" fmla="*/ 7747 w 67465"/>
              <a:gd name="connsiteY3" fmla="*/ 77868 h 84698"/>
              <a:gd name="connsiteX4" fmla="*/ 0 w 67465"/>
              <a:gd name="connsiteY4" fmla="*/ 60540 h 84698"/>
              <a:gd name="connsiteX5" fmla="*/ 9704 w 67465"/>
              <a:gd name="connsiteY5" fmla="*/ 40720 h 84698"/>
              <a:gd name="connsiteX6" fmla="*/ 37011 w 67465"/>
              <a:gd name="connsiteY6" fmla="*/ 33658 h 84698"/>
              <a:gd name="connsiteX7" fmla="*/ 50603 w 67465"/>
              <a:gd name="connsiteY7" fmla="*/ 33658 h 84698"/>
              <a:gd name="connsiteX8" fmla="*/ 50603 w 67465"/>
              <a:gd name="connsiteY8" fmla="*/ 27238 h 84698"/>
              <a:gd name="connsiteX9" fmla="*/ 46223 w 67465"/>
              <a:gd name="connsiteY9" fmla="*/ 15576 h 84698"/>
              <a:gd name="connsiteX10" fmla="*/ 33315 w 67465"/>
              <a:gd name="connsiteY10" fmla="*/ 11237 h 84698"/>
              <a:gd name="connsiteX11" fmla="*/ 20778 w 67465"/>
              <a:gd name="connsiteY11" fmla="*/ 15015 h 84698"/>
              <a:gd name="connsiteX12" fmla="*/ 15713 w 67465"/>
              <a:gd name="connsiteY12" fmla="*/ 24158 h 84698"/>
              <a:gd name="connsiteX13" fmla="*/ 1670 w 67465"/>
              <a:gd name="connsiteY13" fmla="*/ 24158 h 84698"/>
              <a:gd name="connsiteX14" fmla="*/ 6009 w 67465"/>
              <a:gd name="connsiteY14" fmla="*/ 12346 h 84698"/>
              <a:gd name="connsiteX15" fmla="*/ 17794 w 67465"/>
              <a:gd name="connsiteY15" fmla="*/ 3326 h 84698"/>
              <a:gd name="connsiteX16" fmla="*/ 34150 w 67465"/>
              <a:gd name="connsiteY16" fmla="*/ 0 h 84698"/>
              <a:gd name="connsiteX17" fmla="*/ 56283 w 67465"/>
              <a:gd name="connsiteY17" fmla="*/ 7063 h 84698"/>
              <a:gd name="connsiteX18" fmla="*/ 64591 w 67465"/>
              <a:gd name="connsiteY18" fmla="*/ 26513 h 84698"/>
              <a:gd name="connsiteX19" fmla="*/ 64591 w 67465"/>
              <a:gd name="connsiteY19" fmla="*/ 64126 h 84698"/>
              <a:gd name="connsiteX20" fmla="*/ 67466 w 67465"/>
              <a:gd name="connsiteY20" fmla="*/ 82029 h 84698"/>
              <a:gd name="connsiteX21" fmla="*/ 67466 w 67465"/>
              <a:gd name="connsiteY21" fmla="*/ 83234 h 84698"/>
              <a:gd name="connsiteX22" fmla="*/ 52820 w 67465"/>
              <a:gd name="connsiteY22" fmla="*/ 83234 h 84698"/>
              <a:gd name="connsiteX23" fmla="*/ 29592 w 67465"/>
              <a:gd name="connsiteY23" fmla="*/ 72544 h 84698"/>
              <a:gd name="connsiteX24" fmla="*/ 42048 w 67465"/>
              <a:gd name="connsiteY24" fmla="*/ 69149 h 84698"/>
              <a:gd name="connsiteX25" fmla="*/ 50589 w 67465"/>
              <a:gd name="connsiteY25" fmla="*/ 60307 h 84698"/>
              <a:gd name="connsiteX26" fmla="*/ 50589 w 67465"/>
              <a:gd name="connsiteY26" fmla="*/ 43540 h 84698"/>
              <a:gd name="connsiteX27" fmla="*/ 39639 w 67465"/>
              <a:gd name="connsiteY27" fmla="*/ 43540 h 84698"/>
              <a:gd name="connsiteX28" fmla="*/ 13961 w 67465"/>
              <a:gd name="connsiteY28" fmla="*/ 58569 h 84698"/>
              <a:gd name="connsiteX29" fmla="*/ 18341 w 67465"/>
              <a:gd name="connsiteY29" fmla="*/ 68834 h 84698"/>
              <a:gd name="connsiteX30" fmla="*/ 29592 w 67465"/>
              <a:gd name="connsiteY30" fmla="*/ 72530 h 8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7465" h="84698">
                <a:moveTo>
                  <a:pt x="52779" y="83193"/>
                </a:moveTo>
                <a:cubicBezTo>
                  <a:pt x="51971" y="81578"/>
                  <a:pt x="51314" y="78717"/>
                  <a:pt x="50822" y="74583"/>
                </a:cubicBezTo>
                <a:cubicBezTo>
                  <a:pt x="44320" y="81331"/>
                  <a:pt x="36573" y="84698"/>
                  <a:pt x="27567" y="84698"/>
                </a:cubicBezTo>
                <a:cubicBezTo>
                  <a:pt x="19505" y="84698"/>
                  <a:pt x="12907" y="82426"/>
                  <a:pt x="7747" y="77868"/>
                </a:cubicBezTo>
                <a:cubicBezTo>
                  <a:pt x="2587" y="73310"/>
                  <a:pt x="0" y="67534"/>
                  <a:pt x="0" y="60540"/>
                </a:cubicBezTo>
                <a:cubicBezTo>
                  <a:pt x="0" y="52026"/>
                  <a:pt x="3230" y="45429"/>
                  <a:pt x="9704" y="40720"/>
                </a:cubicBezTo>
                <a:cubicBezTo>
                  <a:pt x="16179" y="36012"/>
                  <a:pt x="25281" y="33658"/>
                  <a:pt x="37011" y="33658"/>
                </a:cubicBezTo>
                <a:lnTo>
                  <a:pt x="50603" y="33658"/>
                </a:lnTo>
                <a:lnTo>
                  <a:pt x="50603" y="27238"/>
                </a:lnTo>
                <a:cubicBezTo>
                  <a:pt x="50603" y="22352"/>
                  <a:pt x="49138" y="18464"/>
                  <a:pt x="46223" y="15576"/>
                </a:cubicBezTo>
                <a:cubicBezTo>
                  <a:pt x="43307" y="12675"/>
                  <a:pt x="38996" y="11237"/>
                  <a:pt x="33315" y="11237"/>
                </a:cubicBezTo>
                <a:cubicBezTo>
                  <a:pt x="28333" y="11237"/>
                  <a:pt x="24145" y="12497"/>
                  <a:pt x="20778" y="15015"/>
                </a:cubicBezTo>
                <a:cubicBezTo>
                  <a:pt x="17410" y="17534"/>
                  <a:pt x="15713" y="20586"/>
                  <a:pt x="15713" y="24158"/>
                </a:cubicBezTo>
                <a:lnTo>
                  <a:pt x="1670" y="24158"/>
                </a:lnTo>
                <a:cubicBezTo>
                  <a:pt x="1670" y="20080"/>
                  <a:pt x="3121" y="16138"/>
                  <a:pt x="6009" y="12346"/>
                </a:cubicBezTo>
                <a:cubicBezTo>
                  <a:pt x="8897" y="8555"/>
                  <a:pt x="12825" y="5543"/>
                  <a:pt x="17794" y="3326"/>
                </a:cubicBezTo>
                <a:cubicBezTo>
                  <a:pt x="22749" y="1109"/>
                  <a:pt x="28210" y="0"/>
                  <a:pt x="34150" y="0"/>
                </a:cubicBezTo>
                <a:cubicBezTo>
                  <a:pt x="43567" y="0"/>
                  <a:pt x="50945" y="2354"/>
                  <a:pt x="56283" y="7063"/>
                </a:cubicBezTo>
                <a:cubicBezTo>
                  <a:pt x="61621" y="11771"/>
                  <a:pt x="64386" y="18245"/>
                  <a:pt x="64591" y="26513"/>
                </a:cubicBezTo>
                <a:lnTo>
                  <a:pt x="64591" y="64126"/>
                </a:lnTo>
                <a:cubicBezTo>
                  <a:pt x="64591" y="71627"/>
                  <a:pt x="65549" y="77594"/>
                  <a:pt x="67466" y="82029"/>
                </a:cubicBezTo>
                <a:lnTo>
                  <a:pt x="67466" y="83234"/>
                </a:lnTo>
                <a:lnTo>
                  <a:pt x="52820" y="83234"/>
                </a:lnTo>
                <a:close/>
                <a:moveTo>
                  <a:pt x="29592" y="72544"/>
                </a:moveTo>
                <a:cubicBezTo>
                  <a:pt x="33972" y="72544"/>
                  <a:pt x="38133" y="71408"/>
                  <a:pt x="42048" y="69149"/>
                </a:cubicBezTo>
                <a:cubicBezTo>
                  <a:pt x="45963" y="66891"/>
                  <a:pt x="48823" y="63934"/>
                  <a:pt x="50589" y="60307"/>
                </a:cubicBezTo>
                <a:lnTo>
                  <a:pt x="50589" y="43540"/>
                </a:lnTo>
                <a:lnTo>
                  <a:pt x="39639" y="43540"/>
                </a:lnTo>
                <a:cubicBezTo>
                  <a:pt x="22516" y="43540"/>
                  <a:pt x="13961" y="48550"/>
                  <a:pt x="13961" y="58569"/>
                </a:cubicBezTo>
                <a:cubicBezTo>
                  <a:pt x="13961" y="62949"/>
                  <a:pt x="15426" y="66371"/>
                  <a:pt x="18341" y="68834"/>
                </a:cubicBezTo>
                <a:cubicBezTo>
                  <a:pt x="21257" y="71298"/>
                  <a:pt x="25007" y="72530"/>
                  <a:pt x="29592" y="72530"/>
                </a:cubicBezTo>
                <a:close/>
              </a:path>
            </a:pathLst>
          </a:custGeom>
          <a:solidFill>
            <a:srgbClr val="000000"/>
          </a:solidFill>
          <a:ln w="0" cap="flat">
            <a:noFill/>
            <a:prstDash val="solid"/>
            <a:miter/>
          </a:ln>
        </p:spPr>
        <p:txBody>
          <a:bodyPr rtlCol="0" anchor="ctr"/>
          <a:lstStyle/>
          <a:p>
            <a:endParaRPr lang="da-DK" sz="1200" dirty="0"/>
          </a:p>
        </p:txBody>
      </p:sp>
      <p:sp>
        <p:nvSpPr>
          <p:cNvPr id="40" name="Freeform: Shape 39">
            <a:extLst>
              <a:ext uri="{FF2B5EF4-FFF2-40B4-BE49-F238E27FC236}">
                <a16:creationId xmlns:a16="http://schemas.microsoft.com/office/drawing/2014/main" id="{BCCE4A57-C95C-04C8-A292-7455859B5C7D}"/>
              </a:ext>
            </a:extLst>
          </p:cNvPr>
          <p:cNvSpPr/>
          <p:nvPr/>
        </p:nvSpPr>
        <p:spPr>
          <a:xfrm>
            <a:off x="8276437" y="4547308"/>
            <a:ext cx="48710" cy="63554"/>
          </a:xfrm>
          <a:custGeom>
            <a:avLst/>
            <a:gdLst>
              <a:gd name="connsiteX0" fmla="*/ 50972 w 64947"/>
              <a:gd name="connsiteY0" fmla="*/ 61553 h 84739"/>
              <a:gd name="connsiteX1" fmla="*/ 46702 w 64947"/>
              <a:gd name="connsiteY1" fmla="*/ 52752 h 84739"/>
              <a:gd name="connsiteX2" fmla="*/ 31823 w 64947"/>
              <a:gd name="connsiteY2" fmla="*/ 47345 h 84739"/>
              <a:gd name="connsiteX3" fmla="*/ 14988 w 64947"/>
              <a:gd name="connsiteY3" fmla="*/ 41911 h 84739"/>
              <a:gd name="connsiteX4" fmla="*/ 5776 w 64947"/>
              <a:gd name="connsiteY4" fmla="*/ 34356 h 84739"/>
              <a:gd name="connsiteX5" fmla="*/ 2792 w 64947"/>
              <a:gd name="connsiteY5" fmla="*/ 23939 h 84739"/>
              <a:gd name="connsiteX6" fmla="*/ 11292 w 64947"/>
              <a:gd name="connsiteY6" fmla="*/ 6953 h 84739"/>
              <a:gd name="connsiteX7" fmla="*/ 33001 w 64947"/>
              <a:gd name="connsiteY7" fmla="*/ 0 h 84739"/>
              <a:gd name="connsiteX8" fmla="*/ 55544 w 64947"/>
              <a:gd name="connsiteY8" fmla="*/ 7172 h 84739"/>
              <a:gd name="connsiteX9" fmla="*/ 64194 w 64947"/>
              <a:gd name="connsiteY9" fmla="*/ 25527 h 84739"/>
              <a:gd name="connsiteX10" fmla="*/ 50151 w 64947"/>
              <a:gd name="connsiteY10" fmla="*/ 25527 h 84739"/>
              <a:gd name="connsiteX11" fmla="*/ 45278 w 64947"/>
              <a:gd name="connsiteY11" fmla="*/ 15631 h 84739"/>
              <a:gd name="connsiteX12" fmla="*/ 33001 w 64947"/>
              <a:gd name="connsiteY12" fmla="*/ 11484 h 84739"/>
              <a:gd name="connsiteX13" fmla="*/ 21065 w 64947"/>
              <a:gd name="connsiteY13" fmla="*/ 14810 h 84739"/>
              <a:gd name="connsiteX14" fmla="*/ 16753 w 64947"/>
              <a:gd name="connsiteY14" fmla="*/ 23488 h 84739"/>
              <a:gd name="connsiteX15" fmla="*/ 20750 w 64947"/>
              <a:gd name="connsiteY15" fmla="*/ 31112 h 84739"/>
              <a:gd name="connsiteX16" fmla="*/ 35218 w 64947"/>
              <a:gd name="connsiteY16" fmla="*/ 36026 h 84739"/>
              <a:gd name="connsiteX17" fmla="*/ 52177 w 64947"/>
              <a:gd name="connsiteY17" fmla="*/ 41610 h 84739"/>
              <a:gd name="connsiteX18" fmla="*/ 61813 w 64947"/>
              <a:gd name="connsiteY18" fmla="*/ 49426 h 84739"/>
              <a:gd name="connsiteX19" fmla="*/ 64947 w 64947"/>
              <a:gd name="connsiteY19" fmla="*/ 60567 h 84739"/>
              <a:gd name="connsiteX20" fmla="*/ 56187 w 64947"/>
              <a:gd name="connsiteY20" fmla="*/ 78128 h 84739"/>
              <a:gd name="connsiteX21" fmla="*/ 33452 w 64947"/>
              <a:gd name="connsiteY21" fmla="*/ 84739 h 84739"/>
              <a:gd name="connsiteX22" fmla="*/ 16083 w 64947"/>
              <a:gd name="connsiteY22" fmla="*/ 81263 h 84739"/>
              <a:gd name="connsiteX23" fmla="*/ 4270 w 64947"/>
              <a:gd name="connsiteY23" fmla="*/ 71558 h 84739"/>
              <a:gd name="connsiteX24" fmla="*/ 0 w 64947"/>
              <a:gd name="connsiteY24" fmla="*/ 58076 h 84739"/>
              <a:gd name="connsiteX25" fmla="*/ 13975 w 64947"/>
              <a:gd name="connsiteY25" fmla="*/ 58076 h 84739"/>
              <a:gd name="connsiteX26" fmla="*/ 19601 w 64947"/>
              <a:gd name="connsiteY26" fmla="*/ 69218 h 84739"/>
              <a:gd name="connsiteX27" fmla="*/ 33452 w 64947"/>
              <a:gd name="connsiteY27" fmla="*/ 73338 h 84739"/>
              <a:gd name="connsiteX28" fmla="*/ 46182 w 64947"/>
              <a:gd name="connsiteY28" fmla="*/ 70135 h 84739"/>
              <a:gd name="connsiteX29" fmla="*/ 50972 w 64947"/>
              <a:gd name="connsiteY29" fmla="*/ 61566 h 8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4947" h="84739">
                <a:moveTo>
                  <a:pt x="50972" y="61553"/>
                </a:moveTo>
                <a:cubicBezTo>
                  <a:pt x="50972" y="57775"/>
                  <a:pt x="49549" y="54846"/>
                  <a:pt x="46702" y="52752"/>
                </a:cubicBezTo>
                <a:cubicBezTo>
                  <a:pt x="43855" y="50657"/>
                  <a:pt x="38900" y="48864"/>
                  <a:pt x="31823" y="47345"/>
                </a:cubicBezTo>
                <a:cubicBezTo>
                  <a:pt x="24747" y="45826"/>
                  <a:pt x="19135" y="44019"/>
                  <a:pt x="14988" y="41911"/>
                </a:cubicBezTo>
                <a:cubicBezTo>
                  <a:pt x="10827" y="39803"/>
                  <a:pt x="7761" y="37285"/>
                  <a:pt x="5776" y="34356"/>
                </a:cubicBezTo>
                <a:cubicBezTo>
                  <a:pt x="3791" y="31440"/>
                  <a:pt x="2792" y="27964"/>
                  <a:pt x="2792" y="23939"/>
                </a:cubicBezTo>
                <a:cubicBezTo>
                  <a:pt x="2792" y="17246"/>
                  <a:pt x="5626" y="11580"/>
                  <a:pt x="11292" y="6953"/>
                </a:cubicBezTo>
                <a:cubicBezTo>
                  <a:pt x="16959" y="2327"/>
                  <a:pt x="24200" y="0"/>
                  <a:pt x="33001" y="0"/>
                </a:cubicBezTo>
                <a:cubicBezTo>
                  <a:pt x="42267" y="0"/>
                  <a:pt x="49781" y="2395"/>
                  <a:pt x="55544" y="7172"/>
                </a:cubicBezTo>
                <a:cubicBezTo>
                  <a:pt x="61306" y="11963"/>
                  <a:pt x="64194" y="18068"/>
                  <a:pt x="64194" y="25527"/>
                </a:cubicBezTo>
                <a:lnTo>
                  <a:pt x="50151" y="25527"/>
                </a:lnTo>
                <a:cubicBezTo>
                  <a:pt x="50151" y="21708"/>
                  <a:pt x="48522" y="18396"/>
                  <a:pt x="45278" y="15631"/>
                </a:cubicBezTo>
                <a:cubicBezTo>
                  <a:pt x="42034" y="12866"/>
                  <a:pt x="37942" y="11484"/>
                  <a:pt x="33001" y="11484"/>
                </a:cubicBezTo>
                <a:cubicBezTo>
                  <a:pt x="28059" y="11484"/>
                  <a:pt x="23939" y="12593"/>
                  <a:pt x="21065" y="14810"/>
                </a:cubicBezTo>
                <a:cubicBezTo>
                  <a:pt x="18191" y="17027"/>
                  <a:pt x="16753" y="19915"/>
                  <a:pt x="16753" y="23488"/>
                </a:cubicBezTo>
                <a:cubicBezTo>
                  <a:pt x="16753" y="26855"/>
                  <a:pt x="18081" y="29401"/>
                  <a:pt x="20750" y="31112"/>
                </a:cubicBezTo>
                <a:cubicBezTo>
                  <a:pt x="23419" y="32823"/>
                  <a:pt x="28237" y="34465"/>
                  <a:pt x="35218" y="36026"/>
                </a:cubicBezTo>
                <a:cubicBezTo>
                  <a:pt x="42185" y="37586"/>
                  <a:pt x="47838" y="39447"/>
                  <a:pt x="52177" y="41610"/>
                </a:cubicBezTo>
                <a:cubicBezTo>
                  <a:pt x="56502" y="43773"/>
                  <a:pt x="59719" y="46387"/>
                  <a:pt x="61813" y="49426"/>
                </a:cubicBezTo>
                <a:cubicBezTo>
                  <a:pt x="63907" y="52478"/>
                  <a:pt x="64947" y="56187"/>
                  <a:pt x="64947" y="60567"/>
                </a:cubicBezTo>
                <a:cubicBezTo>
                  <a:pt x="64947" y="67863"/>
                  <a:pt x="62032" y="73721"/>
                  <a:pt x="56187" y="78128"/>
                </a:cubicBezTo>
                <a:cubicBezTo>
                  <a:pt x="50343" y="82536"/>
                  <a:pt x="42773" y="84739"/>
                  <a:pt x="33452" y="84739"/>
                </a:cubicBezTo>
                <a:cubicBezTo>
                  <a:pt x="26910" y="84739"/>
                  <a:pt x="21120" y="83576"/>
                  <a:pt x="16083" y="81263"/>
                </a:cubicBezTo>
                <a:cubicBezTo>
                  <a:pt x="11046" y="78950"/>
                  <a:pt x="7104" y="75706"/>
                  <a:pt x="4270" y="71558"/>
                </a:cubicBezTo>
                <a:cubicBezTo>
                  <a:pt x="1424" y="67397"/>
                  <a:pt x="0" y="62908"/>
                  <a:pt x="0" y="58076"/>
                </a:cubicBezTo>
                <a:lnTo>
                  <a:pt x="13975" y="58076"/>
                </a:lnTo>
                <a:cubicBezTo>
                  <a:pt x="14221" y="62757"/>
                  <a:pt x="16097" y="66467"/>
                  <a:pt x="19601" y="69218"/>
                </a:cubicBezTo>
                <a:cubicBezTo>
                  <a:pt x="23105" y="71969"/>
                  <a:pt x="27717" y="73338"/>
                  <a:pt x="33452" y="73338"/>
                </a:cubicBezTo>
                <a:cubicBezTo>
                  <a:pt x="38736" y="73338"/>
                  <a:pt x="42979" y="72270"/>
                  <a:pt x="46182" y="70135"/>
                </a:cubicBezTo>
                <a:cubicBezTo>
                  <a:pt x="49384" y="68000"/>
                  <a:pt x="50972" y="65139"/>
                  <a:pt x="50972" y="61566"/>
                </a:cubicBezTo>
                <a:close/>
              </a:path>
            </a:pathLst>
          </a:custGeom>
          <a:solidFill>
            <a:srgbClr val="000000"/>
          </a:solidFill>
          <a:ln w="0" cap="flat">
            <a:noFill/>
            <a:prstDash val="solid"/>
            <a:miter/>
          </a:ln>
        </p:spPr>
        <p:txBody>
          <a:bodyPr rtlCol="0" anchor="ctr"/>
          <a:lstStyle/>
          <a:p>
            <a:endParaRPr lang="da-DK" sz="1200" dirty="0"/>
          </a:p>
        </p:txBody>
      </p:sp>
      <p:sp>
        <p:nvSpPr>
          <p:cNvPr id="41" name="Freeform: Shape 40">
            <a:extLst>
              <a:ext uri="{FF2B5EF4-FFF2-40B4-BE49-F238E27FC236}">
                <a16:creationId xmlns:a16="http://schemas.microsoft.com/office/drawing/2014/main" id="{BA0C3A05-9B1A-EC54-BA9D-C290D9A4F77A}"/>
              </a:ext>
            </a:extLst>
          </p:cNvPr>
          <p:cNvSpPr/>
          <p:nvPr/>
        </p:nvSpPr>
        <p:spPr>
          <a:xfrm>
            <a:off x="8331152" y="4533604"/>
            <a:ext cx="33363" cy="77269"/>
          </a:xfrm>
          <a:custGeom>
            <a:avLst/>
            <a:gdLst>
              <a:gd name="connsiteX0" fmla="*/ 28840 w 44484"/>
              <a:gd name="connsiteY0" fmla="*/ 0 h 103025"/>
              <a:gd name="connsiteX1" fmla="*/ 28840 w 44484"/>
              <a:gd name="connsiteY1" fmla="*/ 19792 h 103025"/>
              <a:gd name="connsiteX2" fmla="*/ 44087 w 44484"/>
              <a:gd name="connsiteY2" fmla="*/ 19792 h 103025"/>
              <a:gd name="connsiteX3" fmla="*/ 44087 w 44484"/>
              <a:gd name="connsiteY3" fmla="*/ 30592 h 103025"/>
              <a:gd name="connsiteX4" fmla="*/ 28840 w 44484"/>
              <a:gd name="connsiteY4" fmla="*/ 30592 h 103025"/>
              <a:gd name="connsiteX5" fmla="*/ 28840 w 44484"/>
              <a:gd name="connsiteY5" fmla="*/ 81331 h 103025"/>
              <a:gd name="connsiteX6" fmla="*/ 30879 w 44484"/>
              <a:gd name="connsiteY6" fmla="*/ 88709 h 103025"/>
              <a:gd name="connsiteX7" fmla="*/ 37832 w 44484"/>
              <a:gd name="connsiteY7" fmla="*/ 91159 h 103025"/>
              <a:gd name="connsiteX8" fmla="*/ 44484 w 44484"/>
              <a:gd name="connsiteY8" fmla="*/ 90255 h 103025"/>
              <a:gd name="connsiteX9" fmla="*/ 44484 w 44484"/>
              <a:gd name="connsiteY9" fmla="*/ 101520 h 103025"/>
              <a:gd name="connsiteX10" fmla="*/ 33767 w 44484"/>
              <a:gd name="connsiteY10" fmla="*/ 103026 h 103025"/>
              <a:gd name="connsiteX11" fmla="*/ 19642 w 44484"/>
              <a:gd name="connsiteY11" fmla="*/ 97359 h 103025"/>
              <a:gd name="connsiteX12" fmla="*/ 14878 w 44484"/>
              <a:gd name="connsiteY12" fmla="*/ 81276 h 103025"/>
              <a:gd name="connsiteX13" fmla="*/ 14878 w 44484"/>
              <a:gd name="connsiteY13" fmla="*/ 30605 h 103025"/>
              <a:gd name="connsiteX14" fmla="*/ 0 w 44484"/>
              <a:gd name="connsiteY14" fmla="*/ 30605 h 103025"/>
              <a:gd name="connsiteX15" fmla="*/ 0 w 44484"/>
              <a:gd name="connsiteY15" fmla="*/ 19806 h 103025"/>
              <a:gd name="connsiteX16" fmla="*/ 14878 w 44484"/>
              <a:gd name="connsiteY16" fmla="*/ 19806 h 103025"/>
              <a:gd name="connsiteX17" fmla="*/ 14878 w 44484"/>
              <a:gd name="connsiteY17" fmla="*/ 14 h 103025"/>
              <a:gd name="connsiteX18" fmla="*/ 28853 w 44484"/>
              <a:gd name="connsiteY18" fmla="*/ 14 h 10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484" h="103025">
                <a:moveTo>
                  <a:pt x="28840" y="0"/>
                </a:moveTo>
                <a:lnTo>
                  <a:pt x="28840" y="19792"/>
                </a:lnTo>
                <a:lnTo>
                  <a:pt x="44087" y="19792"/>
                </a:lnTo>
                <a:lnTo>
                  <a:pt x="44087" y="30592"/>
                </a:lnTo>
                <a:lnTo>
                  <a:pt x="28840" y="30592"/>
                </a:lnTo>
                <a:lnTo>
                  <a:pt x="28840" y="81331"/>
                </a:lnTo>
                <a:cubicBezTo>
                  <a:pt x="28840" y="84602"/>
                  <a:pt x="29524" y="87066"/>
                  <a:pt x="30879" y="88709"/>
                </a:cubicBezTo>
                <a:cubicBezTo>
                  <a:pt x="32234" y="90351"/>
                  <a:pt x="34547" y="91159"/>
                  <a:pt x="37832" y="91159"/>
                </a:cubicBezTo>
                <a:cubicBezTo>
                  <a:pt x="39447" y="91159"/>
                  <a:pt x="41651" y="90858"/>
                  <a:pt x="44484" y="90255"/>
                </a:cubicBezTo>
                <a:lnTo>
                  <a:pt x="44484" y="101520"/>
                </a:lnTo>
                <a:cubicBezTo>
                  <a:pt x="40802" y="102519"/>
                  <a:pt x="37230" y="103026"/>
                  <a:pt x="33767" y="103026"/>
                </a:cubicBezTo>
                <a:cubicBezTo>
                  <a:pt x="27526" y="103026"/>
                  <a:pt x="22817" y="101137"/>
                  <a:pt x="19642" y="97359"/>
                </a:cubicBezTo>
                <a:cubicBezTo>
                  <a:pt x="16466" y="93581"/>
                  <a:pt x="14878" y="88216"/>
                  <a:pt x="14878" y="81276"/>
                </a:cubicBezTo>
                <a:lnTo>
                  <a:pt x="14878" y="30605"/>
                </a:lnTo>
                <a:lnTo>
                  <a:pt x="0" y="30605"/>
                </a:lnTo>
                <a:lnTo>
                  <a:pt x="0" y="19806"/>
                </a:lnTo>
                <a:lnTo>
                  <a:pt x="14878" y="19806"/>
                </a:lnTo>
                <a:lnTo>
                  <a:pt x="14878" y="14"/>
                </a:lnTo>
                <a:lnTo>
                  <a:pt x="28853" y="14"/>
                </a:lnTo>
                <a:close/>
              </a:path>
            </a:pathLst>
          </a:custGeom>
          <a:solidFill>
            <a:srgbClr val="000000"/>
          </a:solidFill>
          <a:ln w="0" cap="flat">
            <a:noFill/>
            <a:prstDash val="solid"/>
            <a:miter/>
          </a:ln>
        </p:spPr>
        <p:txBody>
          <a:bodyPr rtlCol="0" anchor="ctr"/>
          <a:lstStyle/>
          <a:p>
            <a:endParaRPr lang="da-DK" sz="1200" dirty="0"/>
          </a:p>
        </p:txBody>
      </p:sp>
      <p:sp>
        <p:nvSpPr>
          <p:cNvPr id="42" name="Freeform: Shape 41">
            <a:extLst>
              <a:ext uri="{FF2B5EF4-FFF2-40B4-BE49-F238E27FC236}">
                <a16:creationId xmlns:a16="http://schemas.microsoft.com/office/drawing/2014/main" id="{6E34A9F0-F99F-0D14-101C-A52CBDC0587C}"/>
              </a:ext>
            </a:extLst>
          </p:cNvPr>
          <p:cNvSpPr/>
          <p:nvPr/>
        </p:nvSpPr>
        <p:spPr>
          <a:xfrm>
            <a:off x="8369525" y="4548427"/>
            <a:ext cx="52232" cy="86057"/>
          </a:xfrm>
          <a:custGeom>
            <a:avLst/>
            <a:gdLst>
              <a:gd name="connsiteX0" fmla="*/ 35670 w 69642"/>
              <a:gd name="connsiteY0" fmla="*/ 61279 h 114742"/>
              <a:gd name="connsiteX1" fmla="*/ 54695 w 69642"/>
              <a:gd name="connsiteY1" fmla="*/ 27 h 114742"/>
              <a:gd name="connsiteX2" fmla="*/ 69642 w 69642"/>
              <a:gd name="connsiteY2" fmla="*/ 27 h 114742"/>
              <a:gd name="connsiteX3" fmla="*/ 36792 w 69642"/>
              <a:gd name="connsiteY3" fmla="*/ 94348 h 114742"/>
              <a:gd name="connsiteX4" fmla="*/ 12551 w 69642"/>
              <a:gd name="connsiteY4" fmla="*/ 114742 h 114742"/>
              <a:gd name="connsiteX5" fmla="*/ 9910 w 69642"/>
              <a:gd name="connsiteY5" fmla="*/ 114510 h 114742"/>
              <a:gd name="connsiteX6" fmla="*/ 4695 w 69642"/>
              <a:gd name="connsiteY6" fmla="*/ 113524 h 114742"/>
              <a:gd name="connsiteX7" fmla="*/ 4695 w 69642"/>
              <a:gd name="connsiteY7" fmla="*/ 102191 h 114742"/>
              <a:gd name="connsiteX8" fmla="*/ 8472 w 69642"/>
              <a:gd name="connsiteY8" fmla="*/ 102492 h 114742"/>
              <a:gd name="connsiteX9" fmla="*/ 19532 w 69642"/>
              <a:gd name="connsiteY9" fmla="*/ 99618 h 114742"/>
              <a:gd name="connsiteX10" fmla="*/ 26061 w 69642"/>
              <a:gd name="connsiteY10" fmla="*/ 89119 h 114742"/>
              <a:gd name="connsiteX11" fmla="*/ 29154 w 69642"/>
              <a:gd name="connsiteY11" fmla="*/ 80811 h 114742"/>
              <a:gd name="connsiteX12" fmla="*/ 0 w 69642"/>
              <a:gd name="connsiteY12" fmla="*/ 0 h 114742"/>
              <a:gd name="connsiteX13" fmla="*/ 15261 w 69642"/>
              <a:gd name="connsiteY13" fmla="*/ 0 h 114742"/>
              <a:gd name="connsiteX14" fmla="*/ 35656 w 69642"/>
              <a:gd name="connsiteY14" fmla="*/ 61252 h 114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642" h="114742">
                <a:moveTo>
                  <a:pt x="35670" y="61279"/>
                </a:moveTo>
                <a:lnTo>
                  <a:pt x="54695" y="27"/>
                </a:lnTo>
                <a:lnTo>
                  <a:pt x="69642" y="27"/>
                </a:lnTo>
                <a:lnTo>
                  <a:pt x="36792" y="94348"/>
                </a:lnTo>
                <a:cubicBezTo>
                  <a:pt x="31714" y="107940"/>
                  <a:pt x="23625" y="114742"/>
                  <a:pt x="12551" y="114742"/>
                </a:cubicBezTo>
                <a:lnTo>
                  <a:pt x="9910" y="114510"/>
                </a:lnTo>
                <a:lnTo>
                  <a:pt x="4695" y="113524"/>
                </a:lnTo>
                <a:lnTo>
                  <a:pt x="4695" y="102191"/>
                </a:lnTo>
                <a:lnTo>
                  <a:pt x="8472" y="102492"/>
                </a:lnTo>
                <a:cubicBezTo>
                  <a:pt x="13208" y="102492"/>
                  <a:pt x="16890" y="101534"/>
                  <a:pt x="19532" y="99618"/>
                </a:cubicBezTo>
                <a:cubicBezTo>
                  <a:pt x="22174" y="97701"/>
                  <a:pt x="24350" y="94211"/>
                  <a:pt x="26061" y="89119"/>
                </a:cubicBezTo>
                <a:lnTo>
                  <a:pt x="29154" y="80811"/>
                </a:lnTo>
                <a:lnTo>
                  <a:pt x="0" y="0"/>
                </a:lnTo>
                <a:lnTo>
                  <a:pt x="15261" y="0"/>
                </a:lnTo>
                <a:lnTo>
                  <a:pt x="35656" y="61252"/>
                </a:lnTo>
                <a:close/>
              </a:path>
            </a:pathLst>
          </a:custGeom>
          <a:solidFill>
            <a:srgbClr val="000000"/>
          </a:solidFill>
          <a:ln w="0" cap="flat">
            <a:noFill/>
            <a:prstDash val="solid"/>
            <a:miter/>
          </a:ln>
        </p:spPr>
        <p:txBody>
          <a:bodyPr rtlCol="0" anchor="ctr"/>
          <a:lstStyle/>
          <a:p>
            <a:endParaRPr lang="da-DK" sz="1200" dirty="0"/>
          </a:p>
        </p:txBody>
      </p:sp>
      <p:sp>
        <p:nvSpPr>
          <p:cNvPr id="43" name="Freeform: Shape 42">
            <a:extLst>
              <a:ext uri="{FF2B5EF4-FFF2-40B4-BE49-F238E27FC236}">
                <a16:creationId xmlns:a16="http://schemas.microsoft.com/office/drawing/2014/main" id="{E029D173-B6C7-F88B-5341-2050CF6914CC}"/>
              </a:ext>
            </a:extLst>
          </p:cNvPr>
          <p:cNvSpPr/>
          <p:nvPr/>
        </p:nvSpPr>
        <p:spPr>
          <a:xfrm>
            <a:off x="8430873" y="4547318"/>
            <a:ext cx="29627" cy="62415"/>
          </a:xfrm>
          <a:custGeom>
            <a:avLst/>
            <a:gdLst>
              <a:gd name="connsiteX0" fmla="*/ 39502 w 39502"/>
              <a:gd name="connsiteY0" fmla="*/ 14043 h 83220"/>
              <a:gd name="connsiteX1" fmla="*/ 32631 w 39502"/>
              <a:gd name="connsiteY1" fmla="*/ 13510 h 83220"/>
              <a:gd name="connsiteX2" fmla="*/ 13975 w 39502"/>
              <a:gd name="connsiteY2" fmla="*/ 25212 h 83220"/>
              <a:gd name="connsiteX3" fmla="*/ 13975 w 39502"/>
              <a:gd name="connsiteY3" fmla="*/ 83220 h 83220"/>
              <a:gd name="connsiteX4" fmla="*/ 0 w 39502"/>
              <a:gd name="connsiteY4" fmla="*/ 83220 h 83220"/>
              <a:gd name="connsiteX5" fmla="*/ 0 w 39502"/>
              <a:gd name="connsiteY5" fmla="*/ 1506 h 83220"/>
              <a:gd name="connsiteX6" fmla="*/ 13592 w 39502"/>
              <a:gd name="connsiteY6" fmla="*/ 1506 h 83220"/>
              <a:gd name="connsiteX7" fmla="*/ 13824 w 39502"/>
              <a:gd name="connsiteY7" fmla="*/ 10950 h 83220"/>
              <a:gd name="connsiteX8" fmla="*/ 33302 w 39502"/>
              <a:gd name="connsiteY8" fmla="*/ 0 h 83220"/>
              <a:gd name="connsiteX9" fmla="*/ 39502 w 39502"/>
              <a:gd name="connsiteY9" fmla="*/ 1054 h 83220"/>
              <a:gd name="connsiteX10" fmla="*/ 39502 w 39502"/>
              <a:gd name="connsiteY10" fmla="*/ 14043 h 8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502" h="83220">
                <a:moveTo>
                  <a:pt x="39502" y="14043"/>
                </a:moveTo>
                <a:cubicBezTo>
                  <a:pt x="37394" y="13688"/>
                  <a:pt x="35095" y="13510"/>
                  <a:pt x="32631" y="13510"/>
                </a:cubicBezTo>
                <a:cubicBezTo>
                  <a:pt x="23460" y="13510"/>
                  <a:pt x="17246" y="17410"/>
                  <a:pt x="13975" y="25212"/>
                </a:cubicBezTo>
                <a:lnTo>
                  <a:pt x="13975" y="83220"/>
                </a:lnTo>
                <a:lnTo>
                  <a:pt x="0" y="83220"/>
                </a:lnTo>
                <a:lnTo>
                  <a:pt x="0" y="1506"/>
                </a:lnTo>
                <a:lnTo>
                  <a:pt x="13592" y="1506"/>
                </a:lnTo>
                <a:lnTo>
                  <a:pt x="13824" y="10950"/>
                </a:lnTo>
                <a:cubicBezTo>
                  <a:pt x="18410" y="3655"/>
                  <a:pt x="24897" y="0"/>
                  <a:pt x="33302" y="0"/>
                </a:cubicBezTo>
                <a:cubicBezTo>
                  <a:pt x="36025" y="0"/>
                  <a:pt x="38092" y="356"/>
                  <a:pt x="39502" y="1054"/>
                </a:cubicBezTo>
                <a:lnTo>
                  <a:pt x="39502" y="14043"/>
                </a:lnTo>
                <a:close/>
              </a:path>
            </a:pathLst>
          </a:custGeom>
          <a:solidFill>
            <a:srgbClr val="000000"/>
          </a:solidFill>
          <a:ln w="0" cap="flat">
            <a:noFill/>
            <a:prstDash val="solid"/>
            <a:miter/>
          </a:ln>
        </p:spPr>
        <p:txBody>
          <a:bodyPr rtlCol="0" anchor="ctr"/>
          <a:lstStyle/>
          <a:p>
            <a:endParaRPr lang="da-DK" sz="1200" dirty="0"/>
          </a:p>
        </p:txBody>
      </p:sp>
      <p:sp>
        <p:nvSpPr>
          <p:cNvPr id="44" name="Freeform: Shape 43">
            <a:extLst>
              <a:ext uri="{FF2B5EF4-FFF2-40B4-BE49-F238E27FC236}">
                <a16:creationId xmlns:a16="http://schemas.microsoft.com/office/drawing/2014/main" id="{0CAD76B2-D027-16D4-CD7C-297D9EFFA2DB}"/>
              </a:ext>
            </a:extLst>
          </p:cNvPr>
          <p:cNvSpPr/>
          <p:nvPr/>
        </p:nvSpPr>
        <p:spPr>
          <a:xfrm>
            <a:off x="8466156" y="4547308"/>
            <a:ext cx="51995" cy="63554"/>
          </a:xfrm>
          <a:custGeom>
            <a:avLst/>
            <a:gdLst>
              <a:gd name="connsiteX0" fmla="*/ 37463 w 69327"/>
              <a:gd name="connsiteY0" fmla="*/ 84739 h 84739"/>
              <a:gd name="connsiteX1" fmla="*/ 10430 w 69327"/>
              <a:gd name="connsiteY1" fmla="*/ 73830 h 84739"/>
              <a:gd name="connsiteX2" fmla="*/ 0 w 69327"/>
              <a:gd name="connsiteY2" fmla="*/ 44635 h 84739"/>
              <a:gd name="connsiteX3" fmla="*/ 0 w 69327"/>
              <a:gd name="connsiteY3" fmla="*/ 42062 h 84739"/>
              <a:gd name="connsiteX4" fmla="*/ 4640 w 69327"/>
              <a:gd name="connsiteY4" fmla="*/ 20353 h 84739"/>
              <a:gd name="connsiteX5" fmla="*/ 17630 w 69327"/>
              <a:gd name="connsiteY5" fmla="*/ 5407 h 84739"/>
              <a:gd name="connsiteX6" fmla="*/ 35711 w 69327"/>
              <a:gd name="connsiteY6" fmla="*/ 0 h 84739"/>
              <a:gd name="connsiteX7" fmla="*/ 60485 w 69327"/>
              <a:gd name="connsiteY7" fmla="*/ 10498 h 84739"/>
              <a:gd name="connsiteX8" fmla="*/ 69327 w 69327"/>
              <a:gd name="connsiteY8" fmla="*/ 40556 h 84739"/>
              <a:gd name="connsiteX9" fmla="*/ 69327 w 69327"/>
              <a:gd name="connsiteY9" fmla="*/ 46373 h 84739"/>
              <a:gd name="connsiteX10" fmla="*/ 13975 w 69327"/>
              <a:gd name="connsiteY10" fmla="*/ 46373 h 84739"/>
              <a:gd name="connsiteX11" fmla="*/ 21038 w 69327"/>
              <a:gd name="connsiteY11" fmla="*/ 65892 h 84739"/>
              <a:gd name="connsiteX12" fmla="*/ 38215 w 69327"/>
              <a:gd name="connsiteY12" fmla="*/ 73324 h 84739"/>
              <a:gd name="connsiteX13" fmla="*/ 50753 w 69327"/>
              <a:gd name="connsiteY13" fmla="*/ 70299 h 84739"/>
              <a:gd name="connsiteX14" fmla="*/ 59746 w 69327"/>
              <a:gd name="connsiteY14" fmla="*/ 62292 h 84739"/>
              <a:gd name="connsiteX15" fmla="*/ 68273 w 69327"/>
              <a:gd name="connsiteY15" fmla="*/ 68944 h 84739"/>
              <a:gd name="connsiteX16" fmla="*/ 37463 w 69327"/>
              <a:gd name="connsiteY16" fmla="*/ 84726 h 84739"/>
              <a:gd name="connsiteX17" fmla="*/ 35724 w 69327"/>
              <a:gd name="connsiteY17" fmla="*/ 11484 h 84739"/>
              <a:gd name="connsiteX18" fmla="*/ 21530 w 69327"/>
              <a:gd name="connsiteY18" fmla="*/ 17643 h 84739"/>
              <a:gd name="connsiteX19" fmla="*/ 14427 w 69327"/>
              <a:gd name="connsiteY19" fmla="*/ 34903 h 84739"/>
              <a:gd name="connsiteX20" fmla="*/ 55366 w 69327"/>
              <a:gd name="connsiteY20" fmla="*/ 34903 h 84739"/>
              <a:gd name="connsiteX21" fmla="*/ 55366 w 69327"/>
              <a:gd name="connsiteY21" fmla="*/ 33849 h 84739"/>
              <a:gd name="connsiteX22" fmla="*/ 49631 w 69327"/>
              <a:gd name="connsiteY22" fmla="*/ 17342 h 84739"/>
              <a:gd name="connsiteX23" fmla="*/ 35738 w 69327"/>
              <a:gd name="connsiteY23" fmla="*/ 11484 h 8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327" h="84739">
                <a:moveTo>
                  <a:pt x="37463" y="84739"/>
                </a:moveTo>
                <a:cubicBezTo>
                  <a:pt x="26389" y="84739"/>
                  <a:pt x="17369" y="81098"/>
                  <a:pt x="10430" y="73830"/>
                </a:cubicBezTo>
                <a:cubicBezTo>
                  <a:pt x="3490" y="66562"/>
                  <a:pt x="0" y="56831"/>
                  <a:pt x="0" y="44635"/>
                </a:cubicBezTo>
                <a:lnTo>
                  <a:pt x="0" y="42062"/>
                </a:lnTo>
                <a:cubicBezTo>
                  <a:pt x="0" y="33959"/>
                  <a:pt x="1547" y="26718"/>
                  <a:pt x="4640" y="20353"/>
                </a:cubicBezTo>
                <a:cubicBezTo>
                  <a:pt x="7733" y="13989"/>
                  <a:pt x="12072" y="9006"/>
                  <a:pt x="17630" y="5407"/>
                </a:cubicBezTo>
                <a:cubicBezTo>
                  <a:pt x="23187" y="1807"/>
                  <a:pt x="29223" y="0"/>
                  <a:pt x="35711" y="0"/>
                </a:cubicBezTo>
                <a:cubicBezTo>
                  <a:pt x="46332" y="0"/>
                  <a:pt x="54586" y="3504"/>
                  <a:pt x="60485" y="10498"/>
                </a:cubicBezTo>
                <a:cubicBezTo>
                  <a:pt x="66371" y="17493"/>
                  <a:pt x="69327" y="27512"/>
                  <a:pt x="69327" y="40556"/>
                </a:cubicBezTo>
                <a:lnTo>
                  <a:pt x="69327" y="46373"/>
                </a:lnTo>
                <a:lnTo>
                  <a:pt x="13975" y="46373"/>
                </a:lnTo>
                <a:cubicBezTo>
                  <a:pt x="14180" y="54435"/>
                  <a:pt x="16534" y="60937"/>
                  <a:pt x="21038" y="65892"/>
                </a:cubicBezTo>
                <a:cubicBezTo>
                  <a:pt x="25541" y="70847"/>
                  <a:pt x="31276" y="73324"/>
                  <a:pt x="38215" y="73324"/>
                </a:cubicBezTo>
                <a:cubicBezTo>
                  <a:pt x="43143" y="73324"/>
                  <a:pt x="47331" y="72311"/>
                  <a:pt x="50753" y="70299"/>
                </a:cubicBezTo>
                <a:cubicBezTo>
                  <a:pt x="54175" y="68287"/>
                  <a:pt x="57173" y="65618"/>
                  <a:pt x="59746" y="62292"/>
                </a:cubicBezTo>
                <a:lnTo>
                  <a:pt x="68273" y="68944"/>
                </a:lnTo>
                <a:cubicBezTo>
                  <a:pt x="61430" y="79470"/>
                  <a:pt x="51150" y="84726"/>
                  <a:pt x="37463" y="84726"/>
                </a:cubicBezTo>
                <a:close/>
                <a:moveTo>
                  <a:pt x="35724" y="11484"/>
                </a:moveTo>
                <a:cubicBezTo>
                  <a:pt x="30085" y="11484"/>
                  <a:pt x="25349" y="13537"/>
                  <a:pt x="21530" y="17643"/>
                </a:cubicBezTo>
                <a:cubicBezTo>
                  <a:pt x="17698" y="21749"/>
                  <a:pt x="15344" y="27498"/>
                  <a:pt x="14427" y="34903"/>
                </a:cubicBezTo>
                <a:lnTo>
                  <a:pt x="55366" y="34903"/>
                </a:lnTo>
                <a:lnTo>
                  <a:pt x="55366" y="33849"/>
                </a:lnTo>
                <a:cubicBezTo>
                  <a:pt x="54969" y="26745"/>
                  <a:pt x="53053" y="21243"/>
                  <a:pt x="49631" y="17342"/>
                </a:cubicBezTo>
                <a:cubicBezTo>
                  <a:pt x="46209" y="13441"/>
                  <a:pt x="41569" y="11484"/>
                  <a:pt x="35738" y="11484"/>
                </a:cubicBezTo>
                <a:close/>
              </a:path>
            </a:pathLst>
          </a:custGeom>
          <a:solidFill>
            <a:srgbClr val="000000"/>
          </a:solidFill>
          <a:ln w="0" cap="flat">
            <a:noFill/>
            <a:prstDash val="solid"/>
            <a:miter/>
          </a:ln>
        </p:spPr>
        <p:txBody>
          <a:bodyPr rtlCol="0" anchor="ctr"/>
          <a:lstStyle/>
          <a:p>
            <a:endParaRPr lang="da-DK" sz="1200" dirty="0"/>
          </a:p>
        </p:txBody>
      </p:sp>
      <p:sp>
        <p:nvSpPr>
          <p:cNvPr id="45" name="Freeform: Shape 44">
            <a:extLst>
              <a:ext uri="{FF2B5EF4-FFF2-40B4-BE49-F238E27FC236}">
                <a16:creationId xmlns:a16="http://schemas.microsoft.com/office/drawing/2014/main" id="{EAFB4067-7C47-F2CB-9E2F-D5106A7E24D7}"/>
              </a:ext>
            </a:extLst>
          </p:cNvPr>
          <p:cNvSpPr/>
          <p:nvPr/>
        </p:nvSpPr>
        <p:spPr>
          <a:xfrm>
            <a:off x="8530952" y="4522732"/>
            <a:ext cx="10481" cy="87001"/>
          </a:xfrm>
          <a:custGeom>
            <a:avLst/>
            <a:gdLst>
              <a:gd name="connsiteX0" fmla="*/ 13975 w 13974"/>
              <a:gd name="connsiteY0" fmla="*/ 116002 h 116001"/>
              <a:gd name="connsiteX1" fmla="*/ 0 w 13974"/>
              <a:gd name="connsiteY1" fmla="*/ 116002 h 116001"/>
              <a:gd name="connsiteX2" fmla="*/ 0 w 13974"/>
              <a:gd name="connsiteY2" fmla="*/ 0 h 116001"/>
              <a:gd name="connsiteX3" fmla="*/ 13975 w 13974"/>
              <a:gd name="connsiteY3" fmla="*/ 0 h 116001"/>
              <a:gd name="connsiteX4" fmla="*/ 13975 w 13974"/>
              <a:gd name="connsiteY4" fmla="*/ 116002 h 11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4" h="116001">
                <a:moveTo>
                  <a:pt x="13975" y="116002"/>
                </a:moveTo>
                <a:lnTo>
                  <a:pt x="0" y="116002"/>
                </a:lnTo>
                <a:lnTo>
                  <a:pt x="0" y="0"/>
                </a:lnTo>
                <a:lnTo>
                  <a:pt x="13975" y="0"/>
                </a:lnTo>
                <a:lnTo>
                  <a:pt x="13975" y="116002"/>
                </a:lnTo>
                <a:close/>
              </a:path>
            </a:pathLst>
          </a:custGeom>
          <a:solidFill>
            <a:srgbClr val="000000"/>
          </a:solidFill>
          <a:ln w="0" cap="flat">
            <a:noFill/>
            <a:prstDash val="solid"/>
            <a:miter/>
          </a:ln>
        </p:spPr>
        <p:txBody>
          <a:bodyPr rtlCol="0" anchor="ctr"/>
          <a:lstStyle/>
          <a:p>
            <a:endParaRPr lang="da-DK" sz="1200" dirty="0"/>
          </a:p>
        </p:txBody>
      </p:sp>
      <p:sp>
        <p:nvSpPr>
          <p:cNvPr id="46" name="Freeform: Shape 45">
            <a:extLst>
              <a:ext uri="{FF2B5EF4-FFF2-40B4-BE49-F238E27FC236}">
                <a16:creationId xmlns:a16="http://schemas.microsoft.com/office/drawing/2014/main" id="{7743C6D7-7E6C-86C2-A4E1-0F71D3433F7E}"/>
              </a:ext>
            </a:extLst>
          </p:cNvPr>
          <p:cNvSpPr/>
          <p:nvPr/>
        </p:nvSpPr>
        <p:spPr>
          <a:xfrm>
            <a:off x="8555416" y="4547308"/>
            <a:ext cx="48710" cy="63554"/>
          </a:xfrm>
          <a:custGeom>
            <a:avLst/>
            <a:gdLst>
              <a:gd name="connsiteX0" fmla="*/ 50972 w 64947"/>
              <a:gd name="connsiteY0" fmla="*/ 61553 h 84739"/>
              <a:gd name="connsiteX1" fmla="*/ 46702 w 64947"/>
              <a:gd name="connsiteY1" fmla="*/ 52752 h 84739"/>
              <a:gd name="connsiteX2" fmla="*/ 31823 w 64947"/>
              <a:gd name="connsiteY2" fmla="*/ 47345 h 84739"/>
              <a:gd name="connsiteX3" fmla="*/ 14988 w 64947"/>
              <a:gd name="connsiteY3" fmla="*/ 41911 h 84739"/>
              <a:gd name="connsiteX4" fmla="*/ 5776 w 64947"/>
              <a:gd name="connsiteY4" fmla="*/ 34356 h 84739"/>
              <a:gd name="connsiteX5" fmla="*/ 2792 w 64947"/>
              <a:gd name="connsiteY5" fmla="*/ 23939 h 84739"/>
              <a:gd name="connsiteX6" fmla="*/ 11292 w 64947"/>
              <a:gd name="connsiteY6" fmla="*/ 6953 h 84739"/>
              <a:gd name="connsiteX7" fmla="*/ 33001 w 64947"/>
              <a:gd name="connsiteY7" fmla="*/ 0 h 84739"/>
              <a:gd name="connsiteX8" fmla="*/ 55544 w 64947"/>
              <a:gd name="connsiteY8" fmla="*/ 7172 h 84739"/>
              <a:gd name="connsiteX9" fmla="*/ 64194 w 64947"/>
              <a:gd name="connsiteY9" fmla="*/ 25527 h 84739"/>
              <a:gd name="connsiteX10" fmla="*/ 50151 w 64947"/>
              <a:gd name="connsiteY10" fmla="*/ 25527 h 84739"/>
              <a:gd name="connsiteX11" fmla="*/ 45278 w 64947"/>
              <a:gd name="connsiteY11" fmla="*/ 15631 h 84739"/>
              <a:gd name="connsiteX12" fmla="*/ 33001 w 64947"/>
              <a:gd name="connsiteY12" fmla="*/ 11484 h 84739"/>
              <a:gd name="connsiteX13" fmla="*/ 21065 w 64947"/>
              <a:gd name="connsiteY13" fmla="*/ 14810 h 84739"/>
              <a:gd name="connsiteX14" fmla="*/ 16753 w 64947"/>
              <a:gd name="connsiteY14" fmla="*/ 23488 h 84739"/>
              <a:gd name="connsiteX15" fmla="*/ 20750 w 64947"/>
              <a:gd name="connsiteY15" fmla="*/ 31112 h 84739"/>
              <a:gd name="connsiteX16" fmla="*/ 35218 w 64947"/>
              <a:gd name="connsiteY16" fmla="*/ 36026 h 84739"/>
              <a:gd name="connsiteX17" fmla="*/ 52177 w 64947"/>
              <a:gd name="connsiteY17" fmla="*/ 41610 h 84739"/>
              <a:gd name="connsiteX18" fmla="*/ 61813 w 64947"/>
              <a:gd name="connsiteY18" fmla="*/ 49426 h 84739"/>
              <a:gd name="connsiteX19" fmla="*/ 64947 w 64947"/>
              <a:gd name="connsiteY19" fmla="*/ 60567 h 84739"/>
              <a:gd name="connsiteX20" fmla="*/ 56187 w 64947"/>
              <a:gd name="connsiteY20" fmla="*/ 78128 h 84739"/>
              <a:gd name="connsiteX21" fmla="*/ 33452 w 64947"/>
              <a:gd name="connsiteY21" fmla="*/ 84739 h 84739"/>
              <a:gd name="connsiteX22" fmla="*/ 16083 w 64947"/>
              <a:gd name="connsiteY22" fmla="*/ 81263 h 84739"/>
              <a:gd name="connsiteX23" fmla="*/ 4270 w 64947"/>
              <a:gd name="connsiteY23" fmla="*/ 71558 h 84739"/>
              <a:gd name="connsiteX24" fmla="*/ 0 w 64947"/>
              <a:gd name="connsiteY24" fmla="*/ 58076 h 84739"/>
              <a:gd name="connsiteX25" fmla="*/ 13975 w 64947"/>
              <a:gd name="connsiteY25" fmla="*/ 58076 h 84739"/>
              <a:gd name="connsiteX26" fmla="*/ 19600 w 64947"/>
              <a:gd name="connsiteY26" fmla="*/ 69218 h 84739"/>
              <a:gd name="connsiteX27" fmla="*/ 33452 w 64947"/>
              <a:gd name="connsiteY27" fmla="*/ 73338 h 84739"/>
              <a:gd name="connsiteX28" fmla="*/ 46182 w 64947"/>
              <a:gd name="connsiteY28" fmla="*/ 70135 h 84739"/>
              <a:gd name="connsiteX29" fmla="*/ 50972 w 64947"/>
              <a:gd name="connsiteY29" fmla="*/ 61566 h 8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4947" h="84739">
                <a:moveTo>
                  <a:pt x="50972" y="61553"/>
                </a:moveTo>
                <a:cubicBezTo>
                  <a:pt x="50972" y="57775"/>
                  <a:pt x="49549" y="54846"/>
                  <a:pt x="46702" y="52752"/>
                </a:cubicBezTo>
                <a:cubicBezTo>
                  <a:pt x="43855" y="50657"/>
                  <a:pt x="38900" y="48864"/>
                  <a:pt x="31823" y="47345"/>
                </a:cubicBezTo>
                <a:cubicBezTo>
                  <a:pt x="24747" y="45826"/>
                  <a:pt x="19135" y="44019"/>
                  <a:pt x="14988" y="41911"/>
                </a:cubicBezTo>
                <a:cubicBezTo>
                  <a:pt x="10827" y="39803"/>
                  <a:pt x="7761" y="37285"/>
                  <a:pt x="5776" y="34356"/>
                </a:cubicBezTo>
                <a:cubicBezTo>
                  <a:pt x="3791" y="31440"/>
                  <a:pt x="2792" y="27964"/>
                  <a:pt x="2792" y="23939"/>
                </a:cubicBezTo>
                <a:cubicBezTo>
                  <a:pt x="2792" y="17246"/>
                  <a:pt x="5626" y="11580"/>
                  <a:pt x="11292" y="6953"/>
                </a:cubicBezTo>
                <a:cubicBezTo>
                  <a:pt x="16959" y="2327"/>
                  <a:pt x="24200" y="0"/>
                  <a:pt x="33001" y="0"/>
                </a:cubicBezTo>
                <a:cubicBezTo>
                  <a:pt x="42267" y="0"/>
                  <a:pt x="49781" y="2395"/>
                  <a:pt x="55544" y="7172"/>
                </a:cubicBezTo>
                <a:cubicBezTo>
                  <a:pt x="61306" y="11963"/>
                  <a:pt x="64194" y="18068"/>
                  <a:pt x="64194" y="25527"/>
                </a:cubicBezTo>
                <a:lnTo>
                  <a:pt x="50151" y="25527"/>
                </a:lnTo>
                <a:cubicBezTo>
                  <a:pt x="50151" y="21708"/>
                  <a:pt x="48522" y="18396"/>
                  <a:pt x="45278" y="15631"/>
                </a:cubicBezTo>
                <a:cubicBezTo>
                  <a:pt x="42034" y="12866"/>
                  <a:pt x="37942" y="11484"/>
                  <a:pt x="33001" y="11484"/>
                </a:cubicBezTo>
                <a:cubicBezTo>
                  <a:pt x="28059" y="11484"/>
                  <a:pt x="23939" y="12593"/>
                  <a:pt x="21065" y="14810"/>
                </a:cubicBezTo>
                <a:cubicBezTo>
                  <a:pt x="18191" y="17027"/>
                  <a:pt x="16753" y="19915"/>
                  <a:pt x="16753" y="23488"/>
                </a:cubicBezTo>
                <a:cubicBezTo>
                  <a:pt x="16753" y="26855"/>
                  <a:pt x="18081" y="29401"/>
                  <a:pt x="20750" y="31112"/>
                </a:cubicBezTo>
                <a:cubicBezTo>
                  <a:pt x="23419" y="32823"/>
                  <a:pt x="28237" y="34465"/>
                  <a:pt x="35218" y="36026"/>
                </a:cubicBezTo>
                <a:cubicBezTo>
                  <a:pt x="42185" y="37586"/>
                  <a:pt x="47838" y="39447"/>
                  <a:pt x="52177" y="41610"/>
                </a:cubicBezTo>
                <a:cubicBezTo>
                  <a:pt x="56502" y="43773"/>
                  <a:pt x="59719" y="46387"/>
                  <a:pt x="61813" y="49426"/>
                </a:cubicBezTo>
                <a:cubicBezTo>
                  <a:pt x="63907" y="52478"/>
                  <a:pt x="64947" y="56187"/>
                  <a:pt x="64947" y="60567"/>
                </a:cubicBezTo>
                <a:cubicBezTo>
                  <a:pt x="64947" y="67863"/>
                  <a:pt x="62032" y="73721"/>
                  <a:pt x="56187" y="78128"/>
                </a:cubicBezTo>
                <a:cubicBezTo>
                  <a:pt x="50343" y="82536"/>
                  <a:pt x="42773" y="84739"/>
                  <a:pt x="33452" y="84739"/>
                </a:cubicBezTo>
                <a:cubicBezTo>
                  <a:pt x="26910" y="84739"/>
                  <a:pt x="21120" y="83576"/>
                  <a:pt x="16083" y="81263"/>
                </a:cubicBezTo>
                <a:cubicBezTo>
                  <a:pt x="11046" y="78950"/>
                  <a:pt x="7104" y="75706"/>
                  <a:pt x="4270" y="71558"/>
                </a:cubicBezTo>
                <a:cubicBezTo>
                  <a:pt x="1424" y="67397"/>
                  <a:pt x="0" y="62908"/>
                  <a:pt x="0" y="58076"/>
                </a:cubicBezTo>
                <a:lnTo>
                  <a:pt x="13975" y="58076"/>
                </a:lnTo>
                <a:cubicBezTo>
                  <a:pt x="14221" y="62757"/>
                  <a:pt x="16097" y="66467"/>
                  <a:pt x="19600" y="69218"/>
                </a:cubicBezTo>
                <a:cubicBezTo>
                  <a:pt x="23105" y="71969"/>
                  <a:pt x="27717" y="73338"/>
                  <a:pt x="33452" y="73338"/>
                </a:cubicBezTo>
                <a:cubicBezTo>
                  <a:pt x="38736" y="73338"/>
                  <a:pt x="42979" y="72270"/>
                  <a:pt x="46182" y="70135"/>
                </a:cubicBezTo>
                <a:cubicBezTo>
                  <a:pt x="49384" y="68000"/>
                  <a:pt x="50972" y="65139"/>
                  <a:pt x="50972" y="61566"/>
                </a:cubicBezTo>
                <a:close/>
              </a:path>
            </a:pathLst>
          </a:custGeom>
          <a:solidFill>
            <a:srgbClr val="000000"/>
          </a:solidFill>
          <a:ln w="0" cap="flat">
            <a:noFill/>
            <a:prstDash val="solid"/>
            <a:miter/>
          </a:ln>
        </p:spPr>
        <p:txBody>
          <a:bodyPr rtlCol="0" anchor="ctr"/>
          <a:lstStyle/>
          <a:p>
            <a:endParaRPr lang="da-DK" sz="1200" dirty="0"/>
          </a:p>
        </p:txBody>
      </p:sp>
      <p:sp>
        <p:nvSpPr>
          <p:cNvPr id="47" name="Freeform: Shape 46">
            <a:extLst>
              <a:ext uri="{FF2B5EF4-FFF2-40B4-BE49-F238E27FC236}">
                <a16:creationId xmlns:a16="http://schemas.microsoft.com/office/drawing/2014/main" id="{4E107705-4BCB-FD95-E85D-D9AB5AE23DC0}"/>
              </a:ext>
            </a:extLst>
          </p:cNvPr>
          <p:cNvSpPr/>
          <p:nvPr/>
        </p:nvSpPr>
        <p:spPr>
          <a:xfrm>
            <a:off x="8614874" y="4547308"/>
            <a:ext cx="51995" cy="63554"/>
          </a:xfrm>
          <a:custGeom>
            <a:avLst/>
            <a:gdLst>
              <a:gd name="connsiteX0" fmla="*/ 37463 w 69327"/>
              <a:gd name="connsiteY0" fmla="*/ 84739 h 84739"/>
              <a:gd name="connsiteX1" fmla="*/ 10430 w 69327"/>
              <a:gd name="connsiteY1" fmla="*/ 73830 h 84739"/>
              <a:gd name="connsiteX2" fmla="*/ 0 w 69327"/>
              <a:gd name="connsiteY2" fmla="*/ 44635 h 84739"/>
              <a:gd name="connsiteX3" fmla="*/ 0 w 69327"/>
              <a:gd name="connsiteY3" fmla="*/ 42062 h 84739"/>
              <a:gd name="connsiteX4" fmla="*/ 4640 w 69327"/>
              <a:gd name="connsiteY4" fmla="*/ 20353 h 84739"/>
              <a:gd name="connsiteX5" fmla="*/ 17630 w 69327"/>
              <a:gd name="connsiteY5" fmla="*/ 5407 h 84739"/>
              <a:gd name="connsiteX6" fmla="*/ 35711 w 69327"/>
              <a:gd name="connsiteY6" fmla="*/ 0 h 84739"/>
              <a:gd name="connsiteX7" fmla="*/ 60485 w 69327"/>
              <a:gd name="connsiteY7" fmla="*/ 10498 h 84739"/>
              <a:gd name="connsiteX8" fmla="*/ 69327 w 69327"/>
              <a:gd name="connsiteY8" fmla="*/ 40556 h 84739"/>
              <a:gd name="connsiteX9" fmla="*/ 69327 w 69327"/>
              <a:gd name="connsiteY9" fmla="*/ 46373 h 84739"/>
              <a:gd name="connsiteX10" fmla="*/ 13975 w 69327"/>
              <a:gd name="connsiteY10" fmla="*/ 46373 h 84739"/>
              <a:gd name="connsiteX11" fmla="*/ 21038 w 69327"/>
              <a:gd name="connsiteY11" fmla="*/ 65892 h 84739"/>
              <a:gd name="connsiteX12" fmla="*/ 38215 w 69327"/>
              <a:gd name="connsiteY12" fmla="*/ 73324 h 84739"/>
              <a:gd name="connsiteX13" fmla="*/ 50753 w 69327"/>
              <a:gd name="connsiteY13" fmla="*/ 70299 h 84739"/>
              <a:gd name="connsiteX14" fmla="*/ 59746 w 69327"/>
              <a:gd name="connsiteY14" fmla="*/ 62292 h 84739"/>
              <a:gd name="connsiteX15" fmla="*/ 68273 w 69327"/>
              <a:gd name="connsiteY15" fmla="*/ 68944 h 84739"/>
              <a:gd name="connsiteX16" fmla="*/ 37463 w 69327"/>
              <a:gd name="connsiteY16" fmla="*/ 84726 h 84739"/>
              <a:gd name="connsiteX17" fmla="*/ 35738 w 69327"/>
              <a:gd name="connsiteY17" fmla="*/ 11484 h 84739"/>
              <a:gd name="connsiteX18" fmla="*/ 21544 w 69327"/>
              <a:gd name="connsiteY18" fmla="*/ 17643 h 84739"/>
              <a:gd name="connsiteX19" fmla="*/ 14440 w 69327"/>
              <a:gd name="connsiteY19" fmla="*/ 34903 h 84739"/>
              <a:gd name="connsiteX20" fmla="*/ 55380 w 69327"/>
              <a:gd name="connsiteY20" fmla="*/ 34903 h 84739"/>
              <a:gd name="connsiteX21" fmla="*/ 55380 w 69327"/>
              <a:gd name="connsiteY21" fmla="*/ 33849 h 84739"/>
              <a:gd name="connsiteX22" fmla="*/ 49645 w 69327"/>
              <a:gd name="connsiteY22" fmla="*/ 17342 h 84739"/>
              <a:gd name="connsiteX23" fmla="*/ 35752 w 69327"/>
              <a:gd name="connsiteY23" fmla="*/ 11484 h 8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327" h="84739">
                <a:moveTo>
                  <a:pt x="37463" y="84739"/>
                </a:moveTo>
                <a:cubicBezTo>
                  <a:pt x="26389" y="84739"/>
                  <a:pt x="17369" y="81098"/>
                  <a:pt x="10430" y="73830"/>
                </a:cubicBezTo>
                <a:cubicBezTo>
                  <a:pt x="3490" y="66562"/>
                  <a:pt x="0" y="56831"/>
                  <a:pt x="0" y="44635"/>
                </a:cubicBezTo>
                <a:lnTo>
                  <a:pt x="0" y="42062"/>
                </a:lnTo>
                <a:cubicBezTo>
                  <a:pt x="0" y="33959"/>
                  <a:pt x="1547" y="26718"/>
                  <a:pt x="4640" y="20353"/>
                </a:cubicBezTo>
                <a:cubicBezTo>
                  <a:pt x="7733" y="13989"/>
                  <a:pt x="12072" y="9006"/>
                  <a:pt x="17630" y="5407"/>
                </a:cubicBezTo>
                <a:cubicBezTo>
                  <a:pt x="23187" y="1807"/>
                  <a:pt x="29223" y="0"/>
                  <a:pt x="35711" y="0"/>
                </a:cubicBezTo>
                <a:cubicBezTo>
                  <a:pt x="46332" y="0"/>
                  <a:pt x="54586" y="3504"/>
                  <a:pt x="60485" y="10498"/>
                </a:cubicBezTo>
                <a:cubicBezTo>
                  <a:pt x="66371" y="17493"/>
                  <a:pt x="69327" y="27512"/>
                  <a:pt x="69327" y="40556"/>
                </a:cubicBezTo>
                <a:lnTo>
                  <a:pt x="69327" y="46373"/>
                </a:lnTo>
                <a:lnTo>
                  <a:pt x="13975" y="46373"/>
                </a:lnTo>
                <a:cubicBezTo>
                  <a:pt x="14180" y="54435"/>
                  <a:pt x="16534" y="60937"/>
                  <a:pt x="21038" y="65892"/>
                </a:cubicBezTo>
                <a:cubicBezTo>
                  <a:pt x="25541" y="70847"/>
                  <a:pt x="31276" y="73324"/>
                  <a:pt x="38215" y="73324"/>
                </a:cubicBezTo>
                <a:cubicBezTo>
                  <a:pt x="43143" y="73324"/>
                  <a:pt x="47331" y="72311"/>
                  <a:pt x="50753" y="70299"/>
                </a:cubicBezTo>
                <a:cubicBezTo>
                  <a:pt x="54175" y="68287"/>
                  <a:pt x="57173" y="65618"/>
                  <a:pt x="59746" y="62292"/>
                </a:cubicBezTo>
                <a:lnTo>
                  <a:pt x="68273" y="68944"/>
                </a:lnTo>
                <a:cubicBezTo>
                  <a:pt x="61430" y="79470"/>
                  <a:pt x="51150" y="84726"/>
                  <a:pt x="37463" y="84726"/>
                </a:cubicBezTo>
                <a:close/>
                <a:moveTo>
                  <a:pt x="35738" y="11484"/>
                </a:moveTo>
                <a:cubicBezTo>
                  <a:pt x="30099" y="11484"/>
                  <a:pt x="25363" y="13537"/>
                  <a:pt x="21544" y="17643"/>
                </a:cubicBezTo>
                <a:cubicBezTo>
                  <a:pt x="17712" y="21749"/>
                  <a:pt x="15357" y="27498"/>
                  <a:pt x="14440" y="34903"/>
                </a:cubicBezTo>
                <a:lnTo>
                  <a:pt x="55380" y="34903"/>
                </a:lnTo>
                <a:lnTo>
                  <a:pt x="55380" y="33849"/>
                </a:lnTo>
                <a:cubicBezTo>
                  <a:pt x="54983" y="26745"/>
                  <a:pt x="53066" y="21243"/>
                  <a:pt x="49645" y="17342"/>
                </a:cubicBezTo>
                <a:cubicBezTo>
                  <a:pt x="46223" y="13441"/>
                  <a:pt x="41583" y="11484"/>
                  <a:pt x="35752" y="11484"/>
                </a:cubicBezTo>
                <a:close/>
              </a:path>
            </a:pathLst>
          </a:custGeom>
          <a:solidFill>
            <a:srgbClr val="000000"/>
          </a:solidFill>
          <a:ln w="0" cap="flat">
            <a:noFill/>
            <a:prstDash val="solid"/>
            <a:miter/>
          </a:ln>
        </p:spPr>
        <p:txBody>
          <a:bodyPr rtlCol="0" anchor="ctr"/>
          <a:lstStyle/>
          <a:p>
            <a:endParaRPr lang="da-DK" sz="1200" dirty="0"/>
          </a:p>
        </p:txBody>
      </p:sp>
      <p:sp>
        <p:nvSpPr>
          <p:cNvPr id="48" name="Freeform: Shape 47">
            <a:extLst>
              <a:ext uri="{FF2B5EF4-FFF2-40B4-BE49-F238E27FC236}">
                <a16:creationId xmlns:a16="http://schemas.microsoft.com/office/drawing/2014/main" id="{BBBF4E76-5BC6-403F-4812-37A5C00EF9F2}"/>
              </a:ext>
            </a:extLst>
          </p:cNvPr>
          <p:cNvSpPr/>
          <p:nvPr/>
        </p:nvSpPr>
        <p:spPr>
          <a:xfrm>
            <a:off x="8678767" y="4547308"/>
            <a:ext cx="48207" cy="62415"/>
          </a:xfrm>
          <a:custGeom>
            <a:avLst/>
            <a:gdLst>
              <a:gd name="connsiteX0" fmla="*/ 13222 w 64276"/>
              <a:gd name="connsiteY0" fmla="*/ 1519 h 83220"/>
              <a:gd name="connsiteX1" fmla="*/ 13674 w 64276"/>
              <a:gd name="connsiteY1" fmla="*/ 11785 h 83220"/>
              <a:gd name="connsiteX2" fmla="*/ 38147 w 64276"/>
              <a:gd name="connsiteY2" fmla="*/ 0 h 83220"/>
              <a:gd name="connsiteX3" fmla="*/ 64276 w 64276"/>
              <a:gd name="connsiteY3" fmla="*/ 29223 h 83220"/>
              <a:gd name="connsiteX4" fmla="*/ 64276 w 64276"/>
              <a:gd name="connsiteY4" fmla="*/ 83220 h 83220"/>
              <a:gd name="connsiteX5" fmla="*/ 50302 w 64276"/>
              <a:gd name="connsiteY5" fmla="*/ 83220 h 83220"/>
              <a:gd name="connsiteX6" fmla="*/ 50302 w 64276"/>
              <a:gd name="connsiteY6" fmla="*/ 29141 h 83220"/>
              <a:gd name="connsiteX7" fmla="*/ 46264 w 64276"/>
              <a:gd name="connsiteY7" fmla="*/ 16069 h 83220"/>
              <a:gd name="connsiteX8" fmla="*/ 33918 w 64276"/>
              <a:gd name="connsiteY8" fmla="*/ 11840 h 83220"/>
              <a:gd name="connsiteX9" fmla="*/ 21982 w 64276"/>
              <a:gd name="connsiteY9" fmla="*/ 15467 h 83220"/>
              <a:gd name="connsiteX10" fmla="*/ 13975 w 64276"/>
              <a:gd name="connsiteY10" fmla="*/ 24980 h 83220"/>
              <a:gd name="connsiteX11" fmla="*/ 13975 w 64276"/>
              <a:gd name="connsiteY11" fmla="*/ 83206 h 83220"/>
              <a:gd name="connsiteX12" fmla="*/ 0 w 64276"/>
              <a:gd name="connsiteY12" fmla="*/ 83206 h 83220"/>
              <a:gd name="connsiteX13" fmla="*/ 0 w 64276"/>
              <a:gd name="connsiteY13" fmla="*/ 1492 h 83220"/>
              <a:gd name="connsiteX14" fmla="*/ 13222 w 64276"/>
              <a:gd name="connsiteY14" fmla="*/ 1492 h 8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276" h="83220">
                <a:moveTo>
                  <a:pt x="13222" y="1519"/>
                </a:moveTo>
                <a:lnTo>
                  <a:pt x="13674" y="11785"/>
                </a:lnTo>
                <a:cubicBezTo>
                  <a:pt x="19915" y="3928"/>
                  <a:pt x="28073" y="0"/>
                  <a:pt x="38147" y="0"/>
                </a:cubicBezTo>
                <a:cubicBezTo>
                  <a:pt x="55421" y="0"/>
                  <a:pt x="64126" y="9745"/>
                  <a:pt x="64276" y="29223"/>
                </a:cubicBezTo>
                <a:lnTo>
                  <a:pt x="64276" y="83220"/>
                </a:lnTo>
                <a:lnTo>
                  <a:pt x="50302" y="83220"/>
                </a:lnTo>
                <a:lnTo>
                  <a:pt x="50302" y="29141"/>
                </a:lnTo>
                <a:cubicBezTo>
                  <a:pt x="50247" y="23255"/>
                  <a:pt x="48905" y="18889"/>
                  <a:pt x="46264" y="16069"/>
                </a:cubicBezTo>
                <a:cubicBezTo>
                  <a:pt x="43622" y="13250"/>
                  <a:pt x="39502" y="11840"/>
                  <a:pt x="33918" y="11840"/>
                </a:cubicBezTo>
                <a:cubicBezTo>
                  <a:pt x="29387" y="11840"/>
                  <a:pt x="25404" y="13044"/>
                  <a:pt x="21982" y="15467"/>
                </a:cubicBezTo>
                <a:cubicBezTo>
                  <a:pt x="18560" y="17890"/>
                  <a:pt x="15891" y="21051"/>
                  <a:pt x="13975" y="24980"/>
                </a:cubicBezTo>
                <a:lnTo>
                  <a:pt x="13975" y="83206"/>
                </a:lnTo>
                <a:lnTo>
                  <a:pt x="0" y="83206"/>
                </a:lnTo>
                <a:lnTo>
                  <a:pt x="0" y="1492"/>
                </a:lnTo>
                <a:lnTo>
                  <a:pt x="13222" y="1492"/>
                </a:lnTo>
                <a:close/>
              </a:path>
            </a:pathLst>
          </a:custGeom>
          <a:solidFill>
            <a:srgbClr val="000000"/>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59963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verskrift og 2 spal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AC3BD-A3F3-1F47-9DE2-555A43EFBF91}"/>
              </a:ext>
            </a:extLst>
          </p:cNvPr>
          <p:cNvSpPr>
            <a:spLocks noGrp="1"/>
          </p:cNvSpPr>
          <p:nvPr>
            <p:ph type="title" hasCustomPrompt="1"/>
          </p:nvPr>
        </p:nvSpPr>
        <p:spPr>
          <a:xfrm>
            <a:off x="411956" y="205979"/>
            <a:ext cx="8318897" cy="857250"/>
          </a:xfrm>
          <a:prstGeom prst="rect">
            <a:avLst/>
          </a:prstGeom>
          <a:effectLst/>
        </p:spPr>
        <p:txBody>
          <a:bodyPr vert="horz" wrap="square" anchor="b">
            <a:noAutofit/>
          </a:bodyPr>
          <a:lstStyle>
            <a:lvl1pPr algn="l">
              <a:defRPr sz="2400" b="0" i="0" u="none" strike="noStrike">
                <a:solidFill>
                  <a:schemeClr val="tx1">
                    <a:lumMod val="100000"/>
                  </a:schemeClr>
                </a:solidFill>
                <a:latin typeface="Arial" panose="020B0604020202020204" pitchFamily="34" charset="0"/>
              </a:defRPr>
            </a:lvl1pPr>
          </a:lstStyle>
          <a:p>
            <a:r>
              <a:rPr lang="da-DK" dirty="0"/>
              <a:t>Her kan du skrive din overskrift</a:t>
            </a:r>
          </a:p>
        </p:txBody>
      </p:sp>
      <p:sp>
        <p:nvSpPr>
          <p:cNvPr id="4" name="Text Placeholder 3">
            <a:extLst>
              <a:ext uri="{FF2B5EF4-FFF2-40B4-BE49-F238E27FC236}">
                <a16:creationId xmlns:a16="http://schemas.microsoft.com/office/drawing/2014/main" id="{3A18B9C6-CCCE-4144-A869-6B5D3C65F93F}"/>
              </a:ext>
            </a:extLst>
          </p:cNvPr>
          <p:cNvSpPr>
            <a:spLocks noGrp="1"/>
          </p:cNvSpPr>
          <p:nvPr>
            <p:ph type="body" sz="quarter" idx="19" hasCustomPrompt="1"/>
          </p:nvPr>
        </p:nvSpPr>
        <p:spPr>
          <a:xfrm>
            <a:off x="411957" y="1188503"/>
            <a:ext cx="4065985" cy="3219450"/>
          </a:xfrm>
          <a:effectLst/>
        </p:spPr>
        <p:txBody>
          <a:bodyPr vert="horz" wrap="square" anchor="t">
            <a:normAutofit/>
          </a:bodyPr>
          <a:lstStyle>
            <a:lvl1pPr algn="l">
              <a:defRPr sz="1500" b="0" i="0" u="none" strike="noStrike">
                <a:solidFill>
                  <a:schemeClr val="tx1">
                    <a:lumMod val="100000"/>
                  </a:schemeClr>
                </a:solidFill>
                <a:latin typeface="Arial" panose="020B0604020202020204" pitchFamily="34" charset="0"/>
              </a:defRPr>
            </a:lvl1pPr>
            <a:lvl2pPr algn="l">
              <a:defRPr sz="1500" b="0" i="0" u="none" strike="noStrike">
                <a:solidFill>
                  <a:schemeClr val="tx1">
                    <a:lumMod val="100000"/>
                  </a:schemeClr>
                </a:solidFill>
                <a:latin typeface="Arial" panose="020B0604020202020204" pitchFamily="34" charset="0"/>
              </a:defRPr>
            </a:lvl2pPr>
            <a:lvl3pPr algn="l">
              <a:defRPr sz="1500" b="0" i="0" u="none" strike="noStrike">
                <a:solidFill>
                  <a:schemeClr val="tx1">
                    <a:lumMod val="100000"/>
                  </a:schemeClr>
                </a:solidFill>
                <a:latin typeface="Arial" panose="020B0604020202020204" pitchFamily="34" charset="0"/>
              </a:defRPr>
            </a:lvl3pPr>
            <a:lvl4pPr algn="l">
              <a:defRPr sz="1500" b="1" i="0" u="none" strike="noStrike">
                <a:solidFill>
                  <a:schemeClr val="tx1">
                    <a:lumMod val="100000"/>
                  </a:schemeClr>
                </a:solidFill>
                <a:latin typeface="Arial" panose="020B0604020202020204" pitchFamily="34" charset="0"/>
              </a:defRPr>
            </a:lvl4pPr>
            <a:lvl5pPr algn="l">
              <a:defRPr sz="1500" b="0" i="0" u="none" strike="noStrike">
                <a:solidFill>
                  <a:schemeClr val="tx1">
                    <a:lumMod val="100000"/>
                  </a:schemeClr>
                </a:solidFill>
                <a:latin typeface="Arial" panose="020B0604020202020204" pitchFamily="34" charset="0"/>
              </a:defRPr>
            </a:lvl5pPr>
          </a:lstStyle>
          <a:p>
            <a:pPr lvl="0"/>
            <a:r>
              <a:rPr lang="da-DK" dirty="0"/>
              <a:t>Her kan du tilføje din tekst i 2 spalter. Du kan slukke for bullets, hvis det er mere oplagt til dit indhold.</a:t>
            </a:r>
          </a:p>
          <a:p>
            <a:pPr lvl="4"/>
            <a:endParaRPr lang="da-DK" dirty="0"/>
          </a:p>
        </p:txBody>
      </p:sp>
      <p:sp>
        <p:nvSpPr>
          <p:cNvPr id="11" name="Text Placeholder 3">
            <a:extLst>
              <a:ext uri="{FF2B5EF4-FFF2-40B4-BE49-F238E27FC236}">
                <a16:creationId xmlns:a16="http://schemas.microsoft.com/office/drawing/2014/main" id="{2A9ABDF5-8695-4635-93D7-4D7BD0EAE2C3}"/>
              </a:ext>
            </a:extLst>
          </p:cNvPr>
          <p:cNvSpPr>
            <a:spLocks noGrp="1"/>
          </p:cNvSpPr>
          <p:nvPr>
            <p:ph type="body" sz="quarter" idx="20" hasCustomPrompt="1"/>
          </p:nvPr>
        </p:nvSpPr>
        <p:spPr>
          <a:xfrm>
            <a:off x="4666061" y="1188503"/>
            <a:ext cx="4062908" cy="3219450"/>
          </a:xfrm>
          <a:effectLst/>
        </p:spPr>
        <p:txBody>
          <a:bodyPr vert="horz" wrap="square" anchor="t">
            <a:normAutofit/>
          </a:bodyPr>
          <a:lstStyle>
            <a:lvl1pPr algn="l">
              <a:defRPr sz="1500" b="0" i="0" u="none" strike="noStrike">
                <a:solidFill>
                  <a:schemeClr val="tx1">
                    <a:lumMod val="100000"/>
                  </a:schemeClr>
                </a:solidFill>
                <a:latin typeface="Arial" panose="020B0604020202020204" pitchFamily="34" charset="0"/>
              </a:defRPr>
            </a:lvl1pPr>
            <a:lvl2pPr algn="l">
              <a:defRPr sz="1500" b="0" i="0" u="none" strike="noStrike">
                <a:solidFill>
                  <a:schemeClr val="tx1">
                    <a:lumMod val="100000"/>
                  </a:schemeClr>
                </a:solidFill>
                <a:latin typeface="Arial" panose="020B0604020202020204" pitchFamily="34" charset="0"/>
              </a:defRPr>
            </a:lvl2pPr>
            <a:lvl3pPr algn="l">
              <a:defRPr sz="1500" b="0" i="0" u="none" strike="noStrike">
                <a:solidFill>
                  <a:schemeClr val="tx1">
                    <a:lumMod val="100000"/>
                  </a:schemeClr>
                </a:solidFill>
                <a:latin typeface="Arial" panose="020B0604020202020204" pitchFamily="34" charset="0"/>
              </a:defRPr>
            </a:lvl3pPr>
            <a:lvl4pPr algn="l">
              <a:defRPr sz="1500" b="1" i="0" u="none" strike="noStrike">
                <a:solidFill>
                  <a:schemeClr val="tx1">
                    <a:lumMod val="100000"/>
                  </a:schemeClr>
                </a:solidFill>
                <a:latin typeface="Arial" panose="020B0604020202020204" pitchFamily="34" charset="0"/>
              </a:defRPr>
            </a:lvl4pPr>
            <a:lvl5pPr algn="l">
              <a:defRPr sz="1500" b="0" i="0" u="none" strike="noStrike">
                <a:solidFill>
                  <a:schemeClr val="tx1">
                    <a:lumMod val="100000"/>
                  </a:schemeClr>
                </a:solidFill>
                <a:latin typeface="Arial" panose="020B0604020202020204" pitchFamily="34" charset="0"/>
              </a:defRPr>
            </a:lvl5pPr>
          </a:lstStyle>
          <a:p>
            <a:pPr lvl="0"/>
            <a:r>
              <a:rPr lang="da-DK" dirty="0"/>
              <a:t>Her kan du tilføje din tekst i 2 spalter. Du kan slukke for bullets, hvis det er mere oplagt til dit indhold.</a:t>
            </a:r>
          </a:p>
          <a:p>
            <a:pPr lvl="4"/>
            <a:endParaRPr lang="da-DK" dirty="0"/>
          </a:p>
        </p:txBody>
      </p:sp>
      <p:sp>
        <p:nvSpPr>
          <p:cNvPr id="8" name="Date Placeholder 7">
            <a:extLst>
              <a:ext uri="{FF2B5EF4-FFF2-40B4-BE49-F238E27FC236}">
                <a16:creationId xmlns:a16="http://schemas.microsoft.com/office/drawing/2014/main" id="{0D13237D-1977-4C06-9D4D-6A0383484163}"/>
              </a:ext>
            </a:extLst>
          </p:cNvPr>
          <p:cNvSpPr>
            <a:spLocks noGrp="1"/>
          </p:cNvSpPr>
          <p:nvPr>
            <p:ph type="dt" sz="half" idx="16"/>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C8EF667-22C0-4F14-8E0B-4267974B4E34}" type="datetime2">
              <a:rPr lang="da-DK" smtClean="0"/>
              <a:t>17. september 2025</a:t>
            </a:fld>
            <a:endParaRPr lang="da-DK" dirty="0"/>
          </a:p>
        </p:txBody>
      </p:sp>
      <p:sp>
        <p:nvSpPr>
          <p:cNvPr id="9" name="Footer Placeholder 8">
            <a:extLst>
              <a:ext uri="{FF2B5EF4-FFF2-40B4-BE49-F238E27FC236}">
                <a16:creationId xmlns:a16="http://schemas.microsoft.com/office/drawing/2014/main" id="{7ED8CB99-0B9D-4D81-B680-4E962D875A71}"/>
              </a:ext>
            </a:extLst>
          </p:cNvPr>
          <p:cNvSpPr>
            <a:spLocks noGrp="1"/>
          </p:cNvSpPr>
          <p:nvPr>
            <p:ph type="ftr" sz="quarter" idx="17"/>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10" name="Slide Number Placeholder 9">
            <a:extLst>
              <a:ext uri="{FF2B5EF4-FFF2-40B4-BE49-F238E27FC236}">
                <a16:creationId xmlns:a16="http://schemas.microsoft.com/office/drawing/2014/main" id="{A094EAAA-9608-418C-83FC-EE9DB3D93B01}"/>
              </a:ext>
            </a:extLst>
          </p:cNvPr>
          <p:cNvSpPr>
            <a:spLocks noGrp="1"/>
          </p:cNvSpPr>
          <p:nvPr>
            <p:ph type="sldNum" sz="quarter" idx="18"/>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Tree>
    <p:extLst>
      <p:ext uri="{BB962C8B-B14F-4D97-AF65-F5344CB8AC3E}">
        <p14:creationId xmlns:p14="http://schemas.microsoft.com/office/powerpoint/2010/main" val="3200608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verskrift og 2 spalter_blå">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BE073D-9D01-F1C2-565A-540AF5DCEB05}"/>
              </a:ext>
            </a:extLst>
          </p:cNvPr>
          <p:cNvSpPr/>
          <p:nvPr userDrawn="1"/>
        </p:nvSpPr>
        <p:spPr bwMode="white">
          <a:xfrm>
            <a:off x="0" y="0"/>
            <a:ext cx="9144000" cy="5143500"/>
          </a:xfrm>
          <a:prstGeom prst="rect">
            <a:avLst/>
          </a:prstGeom>
          <a:solidFill>
            <a:srgbClr val="1E6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solidFill>
                <a:srgbClr val="1E6791"/>
              </a:solidFill>
            </a:endParaRPr>
          </a:p>
        </p:txBody>
      </p:sp>
      <p:sp>
        <p:nvSpPr>
          <p:cNvPr id="2" name="Titel 1">
            <a:extLst>
              <a:ext uri="{FF2B5EF4-FFF2-40B4-BE49-F238E27FC236}">
                <a16:creationId xmlns:a16="http://schemas.microsoft.com/office/drawing/2014/main" id="{084AC3BD-A3F3-1F47-9DE2-555A43EFBF91}"/>
              </a:ext>
            </a:extLst>
          </p:cNvPr>
          <p:cNvSpPr>
            <a:spLocks noGrp="1"/>
          </p:cNvSpPr>
          <p:nvPr>
            <p:ph type="title" hasCustomPrompt="1"/>
          </p:nvPr>
        </p:nvSpPr>
        <p:spPr>
          <a:xfrm>
            <a:off x="417250" y="205979"/>
            <a:ext cx="8313603" cy="857250"/>
          </a:xfrm>
          <a:prstGeom prst="rect">
            <a:avLst/>
          </a:prstGeom>
          <a:effectLst/>
        </p:spPr>
        <p:txBody>
          <a:bodyPr vert="horz" wrap="square" anchor="b">
            <a:noAutofit/>
          </a:bodyPr>
          <a:lstStyle>
            <a:lvl1pPr algn="l">
              <a:defRPr sz="2400" b="0" i="0" u="none" strike="noStrike">
                <a:solidFill>
                  <a:schemeClr val="tx1"/>
                </a:solidFill>
                <a:latin typeface="Arial" panose="020B0604020202020204" pitchFamily="34" charset="0"/>
              </a:defRPr>
            </a:lvl1pPr>
          </a:lstStyle>
          <a:p>
            <a:r>
              <a:rPr lang="da-DK" dirty="0"/>
              <a:t>Her kan du skrive din overskrift</a:t>
            </a:r>
          </a:p>
        </p:txBody>
      </p:sp>
      <p:sp>
        <p:nvSpPr>
          <p:cNvPr id="4" name="Text Placeholder 3">
            <a:extLst>
              <a:ext uri="{FF2B5EF4-FFF2-40B4-BE49-F238E27FC236}">
                <a16:creationId xmlns:a16="http://schemas.microsoft.com/office/drawing/2014/main" id="{3A18B9C6-CCCE-4144-A869-6B5D3C65F93F}"/>
              </a:ext>
            </a:extLst>
          </p:cNvPr>
          <p:cNvSpPr>
            <a:spLocks noGrp="1"/>
          </p:cNvSpPr>
          <p:nvPr>
            <p:ph type="body" sz="quarter" idx="19" hasCustomPrompt="1"/>
          </p:nvPr>
        </p:nvSpPr>
        <p:spPr>
          <a:xfrm>
            <a:off x="419470" y="1188503"/>
            <a:ext cx="4058471" cy="3219450"/>
          </a:xfrm>
          <a:effectLst/>
        </p:spPr>
        <p:txBody>
          <a:bodyPr vert="horz" wrap="square" anchor="t">
            <a:normAutofit/>
          </a:bodyPr>
          <a:lstStyle>
            <a:lvl1pPr algn="l">
              <a:defRPr sz="1500" b="0" i="0" u="none" strike="noStrike">
                <a:solidFill>
                  <a:schemeClr val="tx1"/>
                </a:solidFill>
                <a:latin typeface="Arial" panose="020B0604020202020204" pitchFamily="34" charset="0"/>
              </a:defRPr>
            </a:lvl1pPr>
            <a:lvl2pPr algn="l">
              <a:defRPr sz="1500" b="0" i="0" u="none" strike="noStrike">
                <a:solidFill>
                  <a:schemeClr val="tx1"/>
                </a:solidFill>
                <a:latin typeface="Arial" panose="020B0604020202020204" pitchFamily="34" charset="0"/>
              </a:defRPr>
            </a:lvl2pPr>
            <a:lvl3pPr algn="l">
              <a:defRPr sz="1500" b="0" i="0" u="none" strike="noStrike">
                <a:solidFill>
                  <a:schemeClr val="tx1"/>
                </a:solidFill>
                <a:latin typeface="Arial" panose="020B0604020202020204" pitchFamily="34" charset="0"/>
              </a:defRPr>
            </a:lvl3pPr>
            <a:lvl4pPr algn="l">
              <a:defRPr sz="1500" b="1" i="0" u="none" strike="noStrike">
                <a:solidFill>
                  <a:schemeClr val="tx1"/>
                </a:solidFill>
                <a:latin typeface="Arial" panose="020B0604020202020204" pitchFamily="34" charset="0"/>
              </a:defRPr>
            </a:lvl4pPr>
            <a:lvl5pPr algn="l">
              <a:defRPr sz="1500" b="0" i="0" u="none" strike="noStrike">
                <a:solidFill>
                  <a:schemeClr val="tx1"/>
                </a:solidFill>
                <a:latin typeface="Arial" panose="020B06040202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Her kan du tilføje din tekst i 2 spalter. Du kanslukke for bullets, hvis det er mere oplagt til ditindhold.</a:t>
            </a:r>
          </a:p>
          <a:p>
            <a:pPr lvl="4"/>
            <a:endParaRPr lang="da-DK" dirty="0"/>
          </a:p>
        </p:txBody>
      </p:sp>
      <p:sp>
        <p:nvSpPr>
          <p:cNvPr id="11" name="Text Placeholder 3">
            <a:extLst>
              <a:ext uri="{FF2B5EF4-FFF2-40B4-BE49-F238E27FC236}">
                <a16:creationId xmlns:a16="http://schemas.microsoft.com/office/drawing/2014/main" id="{2A9ABDF5-8695-4635-93D7-4D7BD0EAE2C3}"/>
              </a:ext>
            </a:extLst>
          </p:cNvPr>
          <p:cNvSpPr>
            <a:spLocks noGrp="1"/>
          </p:cNvSpPr>
          <p:nvPr>
            <p:ph type="body" sz="quarter" idx="20" hasCustomPrompt="1"/>
          </p:nvPr>
        </p:nvSpPr>
        <p:spPr>
          <a:xfrm>
            <a:off x="4666061" y="1188503"/>
            <a:ext cx="4062908" cy="3219450"/>
          </a:xfrm>
          <a:effectLst/>
        </p:spPr>
        <p:txBody>
          <a:bodyPr vert="horz" wrap="square" anchor="t">
            <a:normAutofit/>
          </a:bodyPr>
          <a:lstStyle>
            <a:lvl1pPr algn="l">
              <a:defRPr sz="1500" b="0" i="0" u="none" strike="noStrike">
                <a:solidFill>
                  <a:schemeClr val="tx1"/>
                </a:solidFill>
                <a:latin typeface="Arial" panose="020B0604020202020204" pitchFamily="34" charset="0"/>
              </a:defRPr>
            </a:lvl1pPr>
            <a:lvl2pPr algn="l">
              <a:defRPr sz="1500" b="0" i="0" u="none" strike="noStrike">
                <a:solidFill>
                  <a:schemeClr val="tx1"/>
                </a:solidFill>
                <a:latin typeface="Arial" panose="020B0604020202020204" pitchFamily="34" charset="0"/>
              </a:defRPr>
            </a:lvl2pPr>
            <a:lvl3pPr algn="l">
              <a:defRPr sz="1500" b="0" i="0" u="none" strike="noStrike">
                <a:solidFill>
                  <a:schemeClr val="tx1"/>
                </a:solidFill>
                <a:latin typeface="Arial" panose="020B0604020202020204" pitchFamily="34" charset="0"/>
              </a:defRPr>
            </a:lvl3pPr>
            <a:lvl4pPr algn="l">
              <a:defRPr sz="1500" b="1" i="0" u="none" strike="noStrike">
                <a:solidFill>
                  <a:schemeClr val="tx1"/>
                </a:solidFill>
                <a:latin typeface="Arial" panose="020B0604020202020204" pitchFamily="34" charset="0"/>
              </a:defRPr>
            </a:lvl4pPr>
            <a:lvl5pPr algn="l">
              <a:defRPr sz="1500" b="0" i="0" u="none" strike="noStrike">
                <a:solidFill>
                  <a:schemeClr val="tx1"/>
                </a:solidFill>
                <a:latin typeface="Arial" panose="020B06040202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Her kan du tilføje din tekst i 2 spalter. Du kanslukke for bullets, hvis det er mere oplagt til ditindhold.</a:t>
            </a:r>
          </a:p>
          <a:p>
            <a:pPr lvl="4"/>
            <a:endParaRPr lang="da-DK" dirty="0"/>
          </a:p>
        </p:txBody>
      </p:sp>
      <p:sp>
        <p:nvSpPr>
          <p:cNvPr id="8" name="Date Placeholder 7">
            <a:extLst>
              <a:ext uri="{FF2B5EF4-FFF2-40B4-BE49-F238E27FC236}">
                <a16:creationId xmlns:a16="http://schemas.microsoft.com/office/drawing/2014/main" id="{0D13237D-1977-4C06-9D4D-6A0383484163}"/>
              </a:ext>
            </a:extLst>
          </p:cNvPr>
          <p:cNvSpPr>
            <a:spLocks noGrp="1"/>
          </p:cNvSpPr>
          <p:nvPr>
            <p:ph type="dt" sz="half" idx="16"/>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EE839C2-84A2-44A8-B197-50A2E1F28F9C}" type="datetime2">
              <a:rPr lang="da-DK" smtClean="0"/>
              <a:t>17. september 2025</a:t>
            </a:fld>
            <a:endParaRPr lang="da-DK" dirty="0"/>
          </a:p>
        </p:txBody>
      </p:sp>
      <p:sp>
        <p:nvSpPr>
          <p:cNvPr id="9" name="Footer Placeholder 8">
            <a:extLst>
              <a:ext uri="{FF2B5EF4-FFF2-40B4-BE49-F238E27FC236}">
                <a16:creationId xmlns:a16="http://schemas.microsoft.com/office/drawing/2014/main" id="{7ED8CB99-0B9D-4D81-B680-4E962D875A71}"/>
              </a:ext>
            </a:extLst>
          </p:cNvPr>
          <p:cNvSpPr>
            <a:spLocks noGrp="1"/>
          </p:cNvSpPr>
          <p:nvPr>
            <p:ph type="ftr" sz="quarter" idx="17"/>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10" name="Slide Number Placeholder 9">
            <a:extLst>
              <a:ext uri="{FF2B5EF4-FFF2-40B4-BE49-F238E27FC236}">
                <a16:creationId xmlns:a16="http://schemas.microsoft.com/office/drawing/2014/main" id="{A094EAAA-9608-418C-83FC-EE9DB3D93B01}"/>
              </a:ext>
            </a:extLst>
          </p:cNvPr>
          <p:cNvSpPr>
            <a:spLocks noGrp="1"/>
          </p:cNvSpPr>
          <p:nvPr>
            <p:ph type="sldNum" sz="quarter" idx="18"/>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Tree>
    <p:extLst>
      <p:ext uri="{BB962C8B-B14F-4D97-AF65-F5344CB8AC3E}">
        <p14:creationId xmlns:p14="http://schemas.microsoft.com/office/powerpoint/2010/main" val="1756496982"/>
      </p:ext>
    </p:extLst>
  </p:cSld>
  <p:clrMapOvr>
    <a:overrideClrMapping bg1="dk1" tx1="lt1" bg2="dk2" tx2="lt2" accent1="l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AC3BD-A3F3-1F47-9DE2-555A43EFBF91}"/>
              </a:ext>
            </a:extLst>
          </p:cNvPr>
          <p:cNvSpPr>
            <a:spLocks noGrp="1"/>
          </p:cNvSpPr>
          <p:nvPr>
            <p:ph type="title" hasCustomPrompt="1"/>
          </p:nvPr>
        </p:nvSpPr>
        <p:spPr>
          <a:xfrm>
            <a:off x="417250" y="205979"/>
            <a:ext cx="8313603" cy="857250"/>
          </a:xfrm>
          <a:prstGeom prst="rect">
            <a:avLst/>
          </a:prstGeom>
          <a:effectLst/>
        </p:spPr>
        <p:txBody>
          <a:bodyPr vert="horz" wrap="square" anchor="b">
            <a:noAutofit/>
          </a:bodyPr>
          <a:lstStyle>
            <a:lvl1pPr algn="l">
              <a:defRPr sz="2400" b="0" i="0" u="none" strike="noStrike">
                <a:solidFill>
                  <a:schemeClr val="tx1">
                    <a:lumMod val="100000"/>
                  </a:schemeClr>
                </a:solidFill>
                <a:latin typeface="Arial" panose="020B0604020202020204" pitchFamily="34" charset="0"/>
              </a:defRPr>
            </a:lvl1pPr>
          </a:lstStyle>
          <a:p>
            <a:r>
              <a:rPr lang="da-DK" dirty="0"/>
              <a:t>Her kan du skrive din overskrift</a:t>
            </a:r>
          </a:p>
        </p:txBody>
      </p:sp>
      <p:sp>
        <p:nvSpPr>
          <p:cNvPr id="10" name="Text Placeholder 3">
            <a:extLst>
              <a:ext uri="{FF2B5EF4-FFF2-40B4-BE49-F238E27FC236}">
                <a16:creationId xmlns:a16="http://schemas.microsoft.com/office/drawing/2014/main" id="{428B6D9D-5AFF-4480-BF52-066DE2CF0581}"/>
              </a:ext>
            </a:extLst>
          </p:cNvPr>
          <p:cNvSpPr>
            <a:spLocks noGrp="1"/>
          </p:cNvSpPr>
          <p:nvPr>
            <p:ph type="body" sz="quarter" idx="19" hasCustomPrompt="1"/>
          </p:nvPr>
        </p:nvSpPr>
        <p:spPr>
          <a:xfrm>
            <a:off x="419470" y="1188503"/>
            <a:ext cx="8307280" cy="3219450"/>
          </a:xfrm>
          <a:effectLst/>
        </p:spPr>
        <p:txBody>
          <a:bodyPr vert="horz" wrap="square" anchor="t">
            <a:normAutofit/>
          </a:bodyPr>
          <a:lstStyle>
            <a:lvl1pPr algn="l">
              <a:defRPr sz="1500" b="0" i="0" u="none" strike="noStrike">
                <a:solidFill>
                  <a:schemeClr val="tx1">
                    <a:lumMod val="100000"/>
                  </a:schemeClr>
                </a:solidFill>
                <a:latin typeface="Arial" panose="020B0604020202020204" pitchFamily="34" charset="0"/>
              </a:defRPr>
            </a:lvl1pPr>
            <a:lvl2pPr algn="l">
              <a:defRPr sz="1500" b="0" i="0" u="none" strike="noStrike">
                <a:solidFill>
                  <a:schemeClr val="tx1">
                    <a:lumMod val="100000"/>
                  </a:schemeClr>
                </a:solidFill>
                <a:latin typeface="Arial" panose="020B0604020202020204" pitchFamily="34" charset="0"/>
              </a:defRPr>
            </a:lvl2pPr>
            <a:lvl3pPr algn="l">
              <a:defRPr sz="1500" b="0" i="0" u="none" strike="noStrike">
                <a:solidFill>
                  <a:schemeClr val="tx1">
                    <a:lumMod val="100000"/>
                  </a:schemeClr>
                </a:solidFill>
                <a:latin typeface="Arial" panose="020B0604020202020204" pitchFamily="34" charset="0"/>
              </a:defRPr>
            </a:lvl3pPr>
            <a:lvl4pPr algn="l">
              <a:defRPr sz="1500" b="1" i="0" u="none" strike="noStrike">
                <a:solidFill>
                  <a:schemeClr val="tx1">
                    <a:lumMod val="100000"/>
                  </a:schemeClr>
                </a:solidFill>
                <a:latin typeface="Arial" panose="020B0604020202020204" pitchFamily="34" charset="0"/>
              </a:defRPr>
            </a:lvl4pPr>
            <a:lvl5pPr algn="l">
              <a:defRPr sz="1500" b="0" i="0" u="none" strike="noStrike">
                <a:solidFill>
                  <a:schemeClr val="tx1">
                    <a:lumMod val="100000"/>
                  </a:schemeClr>
                </a:solidFill>
                <a:latin typeface="Arial" panose="020B0604020202020204" pitchFamily="34" charset="0"/>
              </a:defRPr>
            </a:lvl5pPr>
            <a:lvl6pPr algn="l">
              <a:defRPr sz="1050" b="0" i="0" u="none" strike="noStrike">
                <a:solidFill>
                  <a:schemeClr val="tx1">
                    <a:lumMod val="100000"/>
                  </a:schemeClr>
                </a:solidFill>
                <a:latin typeface="Arial" panose="020B0604020202020204" pitchFamily="34" charset="0"/>
              </a:defRPr>
            </a:lvl6pPr>
            <a:lvl7pPr algn="l">
              <a:defRPr sz="1050" b="1" i="0" u="none" strike="noStrike">
                <a:solidFill>
                  <a:schemeClr val="tx1">
                    <a:lumMod val="100000"/>
                  </a:schemeClr>
                </a:solidFill>
                <a:latin typeface="Arial" panose="020B0604020202020204" pitchFamily="34" charset="0"/>
              </a:defRPr>
            </a:lvl7pPr>
            <a:lvl8pPr algn="l">
              <a:defRPr sz="1050" b="0" i="0" u="none" strike="noStrike">
                <a:solidFill>
                  <a:schemeClr val="tx1">
                    <a:lumMod val="100000"/>
                  </a:schemeClr>
                </a:solidFill>
                <a:latin typeface="Arial" panose="020B0604020202020204" pitchFamily="34" charset="0"/>
              </a:defRPr>
            </a:lvl8pPr>
            <a:lvl9pPr algn="l">
              <a:defRPr sz="4950" b="0" i="0" u="none" strike="noStrike">
                <a:solidFill>
                  <a:schemeClr val="tx1">
                    <a:lumMod val="100000"/>
                  </a:schemeClr>
                </a:solidFill>
                <a:latin typeface="Arial" panose="020B0604020202020204" pitchFamily="34" charset="0"/>
              </a:defRPr>
            </a:lvl9pPr>
          </a:lstStyle>
          <a:p>
            <a:pPr lvl="0"/>
            <a:r>
              <a:rPr lang="da-DK" dirty="0"/>
              <a:t>Her kan du tilføje din tekst. Du kan slukke for bullets, hvis det er mere oplagt til dit indhold.</a:t>
            </a:r>
          </a:p>
          <a:p>
            <a:pPr lvl="8"/>
            <a:endParaRPr lang="da-DK" dirty="0"/>
          </a:p>
        </p:txBody>
      </p:sp>
      <p:sp>
        <p:nvSpPr>
          <p:cNvPr id="6" name="Date Placeholder 5">
            <a:extLst>
              <a:ext uri="{FF2B5EF4-FFF2-40B4-BE49-F238E27FC236}">
                <a16:creationId xmlns:a16="http://schemas.microsoft.com/office/drawing/2014/main" id="{786AE609-AC92-41BB-ABEA-8F78BAA21721}"/>
              </a:ext>
            </a:extLst>
          </p:cNvPr>
          <p:cNvSpPr>
            <a:spLocks noGrp="1"/>
          </p:cNvSpPr>
          <p:nvPr>
            <p:ph type="dt" sz="half" idx="15"/>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BA72DEA2-ED89-4A14-A37C-EC89A525443E}" type="datetime2">
              <a:rPr lang="da-DK" smtClean="0"/>
              <a:t>17. september 2025</a:t>
            </a:fld>
            <a:endParaRPr lang="da-DK" dirty="0"/>
          </a:p>
        </p:txBody>
      </p:sp>
      <p:sp>
        <p:nvSpPr>
          <p:cNvPr id="8" name="Footer Placeholder 7">
            <a:extLst>
              <a:ext uri="{FF2B5EF4-FFF2-40B4-BE49-F238E27FC236}">
                <a16:creationId xmlns:a16="http://schemas.microsoft.com/office/drawing/2014/main" id="{F6620B4B-1224-4B91-B092-DD7C04C7A69E}"/>
              </a:ext>
            </a:extLst>
          </p:cNvPr>
          <p:cNvSpPr>
            <a:spLocks noGrp="1"/>
          </p:cNvSpPr>
          <p:nvPr>
            <p:ph type="ftr" sz="quarter" idx="16"/>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9" name="Slide Number Placeholder 8">
            <a:extLst>
              <a:ext uri="{FF2B5EF4-FFF2-40B4-BE49-F238E27FC236}">
                <a16:creationId xmlns:a16="http://schemas.microsoft.com/office/drawing/2014/main" id="{A63D1715-C6D4-4656-8302-6F15979D293F}"/>
              </a:ext>
            </a:extLst>
          </p:cNvPr>
          <p:cNvSpPr>
            <a:spLocks noGrp="1"/>
          </p:cNvSpPr>
          <p:nvPr>
            <p:ph type="sldNum" sz="quarter" idx="17"/>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Tree>
    <p:extLst>
      <p:ext uri="{BB962C8B-B14F-4D97-AF65-F5344CB8AC3E}">
        <p14:creationId xmlns:p14="http://schemas.microsoft.com/office/powerpoint/2010/main" val="1041083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verskrift og tekst_blå">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247158-8116-CEBA-063D-BF26034B36DA}"/>
              </a:ext>
            </a:extLst>
          </p:cNvPr>
          <p:cNvSpPr/>
          <p:nvPr userDrawn="1"/>
        </p:nvSpPr>
        <p:spPr bwMode="white">
          <a:xfrm>
            <a:off x="0" y="0"/>
            <a:ext cx="9144000" cy="5143500"/>
          </a:xfrm>
          <a:prstGeom prst="rect">
            <a:avLst/>
          </a:prstGeom>
          <a:solidFill>
            <a:srgbClr val="1E6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 name="Titel 1">
            <a:extLst>
              <a:ext uri="{FF2B5EF4-FFF2-40B4-BE49-F238E27FC236}">
                <a16:creationId xmlns:a16="http://schemas.microsoft.com/office/drawing/2014/main" id="{084AC3BD-A3F3-1F47-9DE2-555A43EFBF91}"/>
              </a:ext>
            </a:extLst>
          </p:cNvPr>
          <p:cNvSpPr>
            <a:spLocks noGrp="1"/>
          </p:cNvSpPr>
          <p:nvPr>
            <p:ph type="title" hasCustomPrompt="1"/>
          </p:nvPr>
        </p:nvSpPr>
        <p:spPr>
          <a:xfrm>
            <a:off x="417250" y="205979"/>
            <a:ext cx="8313603" cy="857250"/>
          </a:xfrm>
          <a:prstGeom prst="rect">
            <a:avLst/>
          </a:prstGeom>
          <a:effectLst/>
        </p:spPr>
        <p:txBody>
          <a:bodyPr vert="horz" wrap="square" anchor="b">
            <a:noAutofit/>
          </a:bodyPr>
          <a:lstStyle>
            <a:lvl1pPr algn="l">
              <a:defRPr sz="2400" b="0" i="0" u="none" strike="noStrike">
                <a:solidFill>
                  <a:schemeClr val="tx1"/>
                </a:solidFill>
                <a:latin typeface="Arial" panose="020B0604020202020204" pitchFamily="34" charset="0"/>
              </a:defRPr>
            </a:lvl1pPr>
          </a:lstStyle>
          <a:p>
            <a:r>
              <a:rPr lang="da-DK" dirty="0"/>
              <a:t>Her kan du skrive din overskrift</a:t>
            </a:r>
          </a:p>
        </p:txBody>
      </p:sp>
      <p:sp>
        <p:nvSpPr>
          <p:cNvPr id="10" name="Text Placeholder 3">
            <a:extLst>
              <a:ext uri="{FF2B5EF4-FFF2-40B4-BE49-F238E27FC236}">
                <a16:creationId xmlns:a16="http://schemas.microsoft.com/office/drawing/2014/main" id="{428B6D9D-5AFF-4480-BF52-066DE2CF0581}"/>
              </a:ext>
            </a:extLst>
          </p:cNvPr>
          <p:cNvSpPr>
            <a:spLocks noGrp="1"/>
          </p:cNvSpPr>
          <p:nvPr>
            <p:ph type="body" sz="quarter" idx="19" hasCustomPrompt="1"/>
          </p:nvPr>
        </p:nvSpPr>
        <p:spPr>
          <a:xfrm>
            <a:off x="419470" y="1188503"/>
            <a:ext cx="8307280" cy="3219450"/>
          </a:xfrm>
          <a:effectLst/>
        </p:spPr>
        <p:txBody>
          <a:bodyPr vert="horz" wrap="square" anchor="t">
            <a:normAutofit/>
          </a:bodyPr>
          <a:lstStyle>
            <a:lvl1pPr algn="l">
              <a:defRPr sz="1500" b="0" i="0" u="none" strike="noStrike">
                <a:solidFill>
                  <a:schemeClr val="tx1"/>
                </a:solidFill>
                <a:latin typeface="Arial" panose="020B0604020202020204" pitchFamily="34" charset="0"/>
              </a:defRPr>
            </a:lvl1pPr>
            <a:lvl2pPr algn="l">
              <a:defRPr sz="1500" b="0" i="0" u="none" strike="noStrike">
                <a:solidFill>
                  <a:schemeClr val="tx1"/>
                </a:solidFill>
                <a:latin typeface="Arial" panose="020B0604020202020204" pitchFamily="34" charset="0"/>
              </a:defRPr>
            </a:lvl2pPr>
            <a:lvl3pPr algn="l">
              <a:defRPr sz="1500" b="0" i="0" u="none" strike="noStrike">
                <a:solidFill>
                  <a:schemeClr val="tx1"/>
                </a:solidFill>
                <a:latin typeface="Arial" panose="020B0604020202020204" pitchFamily="34" charset="0"/>
              </a:defRPr>
            </a:lvl3pPr>
            <a:lvl4pPr algn="l">
              <a:defRPr sz="1500" b="1" i="0" u="none" strike="noStrike">
                <a:solidFill>
                  <a:schemeClr val="tx1"/>
                </a:solidFill>
                <a:latin typeface="Arial" panose="020B0604020202020204" pitchFamily="34" charset="0"/>
              </a:defRPr>
            </a:lvl4pPr>
            <a:lvl5pPr algn="l">
              <a:defRPr sz="1500" b="0" i="0" u="none" strike="noStrike">
                <a:solidFill>
                  <a:schemeClr val="tx1"/>
                </a:solidFill>
                <a:latin typeface="Arial" panose="020B0604020202020204" pitchFamily="34" charset="0"/>
              </a:defRPr>
            </a:lvl5pPr>
            <a:lvl6pPr algn="l">
              <a:defRPr sz="1050" b="0" i="0" u="none" strike="noStrike">
                <a:solidFill>
                  <a:schemeClr val="tx1"/>
                </a:solidFill>
                <a:latin typeface="Arial" panose="020B0604020202020204" pitchFamily="34" charset="0"/>
              </a:defRPr>
            </a:lvl6pPr>
            <a:lvl7pPr algn="l">
              <a:defRPr sz="1050" b="1" i="0" u="none" strike="noStrike">
                <a:solidFill>
                  <a:schemeClr val="tx1"/>
                </a:solidFill>
                <a:latin typeface="Arial" panose="020B0604020202020204" pitchFamily="34" charset="0"/>
              </a:defRPr>
            </a:lvl7pPr>
            <a:lvl8pPr algn="l">
              <a:defRPr sz="1050" b="0" i="0" u="none" strike="noStrike">
                <a:solidFill>
                  <a:schemeClr val="tx1"/>
                </a:solidFill>
                <a:latin typeface="Arial" panose="020B0604020202020204" pitchFamily="34" charset="0"/>
              </a:defRPr>
            </a:lvl8pPr>
            <a:lvl9pPr algn="l">
              <a:defRPr sz="4950" b="0" i="0" u="none" strike="noStrike">
                <a:solidFill>
                  <a:schemeClr val="tx1"/>
                </a:solidFill>
                <a:latin typeface="Arial" panose="020B0604020202020204" pitchFamily="34" charset="0"/>
              </a:defRPr>
            </a:lvl9pPr>
          </a:lstStyle>
          <a:p>
            <a:pPr lvl="0"/>
            <a:r>
              <a:rPr lang="da-DK" dirty="0"/>
              <a:t>Her kan du tilføje din tekst. Du kan slukke for bullets, hvis det er mere oplagt til dit indhold.</a:t>
            </a:r>
          </a:p>
          <a:p>
            <a:pPr lvl="8"/>
            <a:endParaRPr lang="da-DK" dirty="0"/>
          </a:p>
        </p:txBody>
      </p:sp>
      <p:sp>
        <p:nvSpPr>
          <p:cNvPr id="6" name="Date Placeholder 5">
            <a:extLst>
              <a:ext uri="{FF2B5EF4-FFF2-40B4-BE49-F238E27FC236}">
                <a16:creationId xmlns:a16="http://schemas.microsoft.com/office/drawing/2014/main" id="{786AE609-AC92-41BB-ABEA-8F78BAA21721}"/>
              </a:ext>
            </a:extLst>
          </p:cNvPr>
          <p:cNvSpPr>
            <a:spLocks noGrp="1"/>
          </p:cNvSpPr>
          <p:nvPr>
            <p:ph type="dt" sz="half" idx="15"/>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E6F81D7B-597B-41AE-A6C6-5DB4701027E1}" type="datetime2">
              <a:rPr lang="da-DK" smtClean="0"/>
              <a:t>17. september 2025</a:t>
            </a:fld>
            <a:endParaRPr lang="da-DK" dirty="0"/>
          </a:p>
        </p:txBody>
      </p:sp>
      <p:sp>
        <p:nvSpPr>
          <p:cNvPr id="8" name="Footer Placeholder 7">
            <a:extLst>
              <a:ext uri="{FF2B5EF4-FFF2-40B4-BE49-F238E27FC236}">
                <a16:creationId xmlns:a16="http://schemas.microsoft.com/office/drawing/2014/main" id="{F6620B4B-1224-4B91-B092-DD7C04C7A69E}"/>
              </a:ext>
            </a:extLst>
          </p:cNvPr>
          <p:cNvSpPr>
            <a:spLocks noGrp="1"/>
          </p:cNvSpPr>
          <p:nvPr>
            <p:ph type="ftr" sz="quarter" idx="16"/>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9" name="Slide Number Placeholder 8">
            <a:extLst>
              <a:ext uri="{FF2B5EF4-FFF2-40B4-BE49-F238E27FC236}">
                <a16:creationId xmlns:a16="http://schemas.microsoft.com/office/drawing/2014/main" id="{A63D1715-C6D4-4656-8302-6F15979D293F}"/>
              </a:ext>
            </a:extLst>
          </p:cNvPr>
          <p:cNvSpPr>
            <a:spLocks noGrp="1"/>
          </p:cNvSpPr>
          <p:nvPr>
            <p:ph type="sldNum" sz="quarter" idx="17"/>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Tree>
    <p:extLst>
      <p:ext uri="{BB962C8B-B14F-4D97-AF65-F5344CB8AC3E}">
        <p14:creationId xmlns:p14="http://schemas.microsoft.com/office/powerpoint/2010/main" val="937797055"/>
      </p:ext>
    </p:extLst>
  </p:cSld>
  <p:clrMapOvr>
    <a:overrideClrMapping bg1="dk1" tx1="lt1" bg2="dk2" tx2="lt2" accent1="l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re tekstbokse_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E4B57B-A786-0D40-BE76-7BCC1CA0C47C}"/>
              </a:ext>
            </a:extLst>
          </p:cNvPr>
          <p:cNvSpPr>
            <a:spLocks noGrp="1"/>
          </p:cNvSpPr>
          <p:nvPr>
            <p:ph type="title" hasCustomPrompt="1"/>
          </p:nvPr>
        </p:nvSpPr>
        <p:spPr>
          <a:xfrm>
            <a:off x="417250" y="205979"/>
            <a:ext cx="8313603" cy="857250"/>
          </a:xfrm>
          <a:prstGeom prst="rect">
            <a:avLst/>
          </a:prstGeom>
          <a:effectLst/>
        </p:spPr>
        <p:txBody>
          <a:bodyPr vert="horz" wrap="square" anchor="b">
            <a:noAutofit/>
          </a:bodyPr>
          <a:lstStyle>
            <a:lvl1pPr algn="l">
              <a:defRPr sz="2400" b="0" i="0" u="none" strike="noStrike">
                <a:solidFill>
                  <a:schemeClr val="tx1">
                    <a:lumMod val="100000"/>
                  </a:schemeClr>
                </a:solidFill>
                <a:latin typeface="Arial" panose="020B0604020202020204" pitchFamily="34" charset="0"/>
              </a:defRPr>
            </a:lvl1pPr>
          </a:lstStyle>
          <a:p>
            <a:r>
              <a:rPr lang="da-DK" dirty="0"/>
              <a:t>Skriv din overskrift her</a:t>
            </a:r>
          </a:p>
        </p:txBody>
      </p:sp>
      <p:sp>
        <p:nvSpPr>
          <p:cNvPr id="7" name="Text Placeholder 6">
            <a:extLst>
              <a:ext uri="{FF2B5EF4-FFF2-40B4-BE49-F238E27FC236}">
                <a16:creationId xmlns:a16="http://schemas.microsoft.com/office/drawing/2014/main" id="{3EDA1F0C-E9E3-474F-9379-766220B8E8EE}"/>
              </a:ext>
            </a:extLst>
          </p:cNvPr>
          <p:cNvSpPr>
            <a:spLocks noGrp="1"/>
          </p:cNvSpPr>
          <p:nvPr>
            <p:ph type="body" sz="quarter" idx="19" hasCustomPrompt="1"/>
          </p:nvPr>
        </p:nvSpPr>
        <p:spPr>
          <a:xfrm>
            <a:off x="417250" y="1188504"/>
            <a:ext cx="2646000" cy="3219450"/>
          </a:xfrm>
          <a:noFill/>
          <a:effectLst/>
          <a:extLst>
            <a:ext uri="{909E8E84-426E-40DD-AFC4-6F175D3DCCD1}">
              <a14:hiddenFill xmlns:a14="http://schemas.microsoft.com/office/drawing/2010/main">
                <a:solidFill>
                  <a:schemeClr val="accent1"/>
                </a:solidFill>
              </a14:hiddenFill>
            </a:ext>
          </a:extLst>
        </p:spPr>
        <p:txBody>
          <a:bodyPr vert="horz" wrap="square" lIns="0" tIns="45720" rIns="91440" anchor="t">
            <a:normAutofit/>
          </a:bodyPr>
          <a:lstStyle>
            <a:lvl1pPr algn="l">
              <a:defRPr sz="1500" b="0" i="0" u="none" strike="noStrike">
                <a:solidFill>
                  <a:schemeClr val="tx1">
                    <a:lumMod val="100000"/>
                  </a:schemeClr>
                </a:solidFill>
                <a:latin typeface="Arial" panose="020B0604020202020204" pitchFamily="34" charset="0"/>
              </a:defRPr>
            </a:lvl1pPr>
            <a:lvl2pPr algn="l">
              <a:defRPr sz="1500" b="0" i="0" u="none" strike="noStrike">
                <a:solidFill>
                  <a:schemeClr val="tx1">
                    <a:lumMod val="100000"/>
                  </a:schemeClr>
                </a:solidFill>
                <a:latin typeface="Arial" panose="020B0604020202020204" pitchFamily="34" charset="0"/>
              </a:defRPr>
            </a:lvl2pPr>
            <a:lvl3pPr algn="l">
              <a:defRPr sz="1500" b="0" i="0" u="none" strike="noStrike">
                <a:solidFill>
                  <a:schemeClr val="tx1">
                    <a:lumMod val="100000"/>
                  </a:schemeClr>
                </a:solidFill>
                <a:latin typeface="Arial" panose="020B0604020202020204" pitchFamily="34" charset="0"/>
              </a:defRPr>
            </a:lvl3pPr>
            <a:lvl4pPr algn="l">
              <a:defRPr sz="1500" b="1" i="0" u="none" strike="noStrike">
                <a:solidFill>
                  <a:schemeClr val="tx1">
                    <a:lumMod val="100000"/>
                  </a:schemeClr>
                </a:solidFill>
                <a:latin typeface="Arial" panose="020B0604020202020204" pitchFamily="34" charset="0"/>
              </a:defRPr>
            </a:lvl4pPr>
            <a:lvl5pPr algn="l">
              <a:defRPr sz="1500" b="0" i="0" u="none" strike="noStrike">
                <a:solidFill>
                  <a:schemeClr val="tx1">
                    <a:lumMod val="100000"/>
                  </a:schemeClr>
                </a:solidFill>
                <a:latin typeface="Arial" panose="020B0604020202020204" pitchFamily="34" charset="0"/>
              </a:defRPr>
            </a:lvl5pPr>
            <a:lvl6pPr algn="l">
              <a:defRPr sz="1050" b="0" i="0" u="none" strike="noStrike">
                <a:solidFill>
                  <a:schemeClr val="tx1">
                    <a:lumMod val="100000"/>
                  </a:schemeClr>
                </a:solidFill>
                <a:latin typeface="Arial" panose="020B0604020202020204" pitchFamily="34" charset="0"/>
              </a:defRPr>
            </a:lvl6pPr>
            <a:lvl7pPr algn="l">
              <a:defRPr sz="1050" b="1" i="0" u="none" strike="noStrike">
                <a:solidFill>
                  <a:schemeClr val="tx1">
                    <a:lumMod val="100000"/>
                  </a:schemeClr>
                </a:solidFill>
                <a:latin typeface="Arial" panose="020B0604020202020204" pitchFamily="34" charset="0"/>
              </a:defRPr>
            </a:lvl7pPr>
            <a:lvl8pPr algn="l">
              <a:defRPr sz="1050" b="0" i="0" u="none" strike="noStrike">
                <a:solidFill>
                  <a:schemeClr val="tx1">
                    <a:lumMod val="100000"/>
                  </a:schemeClr>
                </a:solidFill>
                <a:latin typeface="Arial" panose="020B0604020202020204" pitchFamily="34" charset="0"/>
              </a:defRPr>
            </a:lvl8pPr>
            <a:lvl9pPr algn="l">
              <a:defRPr sz="4950" b="0" i="0" u="none" strike="noStrike">
                <a:solidFill>
                  <a:schemeClr val="tx1">
                    <a:lumMod val="100000"/>
                  </a:schemeClr>
                </a:solidFill>
                <a:latin typeface="Arial" panose="020B0604020202020204" pitchFamily="34" charset="0"/>
              </a:defRPr>
            </a:lvl9pPr>
          </a:lstStyle>
          <a:p>
            <a:pPr lvl="0"/>
            <a:r>
              <a:rPr lang="da-DK" dirty="0"/>
              <a:t>Her kan du tilføje din tekst. Du kan slukke for bullets, hvis det er mere oplagt til dit indhold.</a:t>
            </a:r>
          </a:p>
          <a:p>
            <a:pPr lvl="8"/>
            <a:endParaRPr lang="da-DK" dirty="0"/>
          </a:p>
        </p:txBody>
      </p:sp>
      <p:sp>
        <p:nvSpPr>
          <p:cNvPr id="13" name="Text Placeholder 6">
            <a:extLst>
              <a:ext uri="{FF2B5EF4-FFF2-40B4-BE49-F238E27FC236}">
                <a16:creationId xmlns:a16="http://schemas.microsoft.com/office/drawing/2014/main" id="{53042BB5-3B13-48E8-865F-38764722C88D}"/>
              </a:ext>
            </a:extLst>
          </p:cNvPr>
          <p:cNvSpPr>
            <a:spLocks noGrp="1"/>
          </p:cNvSpPr>
          <p:nvPr>
            <p:ph type="body" sz="quarter" idx="20" hasCustomPrompt="1"/>
          </p:nvPr>
        </p:nvSpPr>
        <p:spPr>
          <a:xfrm>
            <a:off x="3249000" y="1188504"/>
            <a:ext cx="2646000" cy="3219450"/>
          </a:xfrm>
          <a:noFill/>
          <a:effectLst/>
          <a:extLst>
            <a:ext uri="{909E8E84-426E-40DD-AFC4-6F175D3DCCD1}">
              <a14:hiddenFill xmlns:a14="http://schemas.microsoft.com/office/drawing/2010/main">
                <a:solidFill>
                  <a:schemeClr val="accent1"/>
                </a:solidFill>
              </a14:hiddenFill>
            </a:ext>
          </a:extLst>
        </p:spPr>
        <p:txBody>
          <a:bodyPr vert="horz" wrap="square" lIns="0" tIns="45720" rIns="91440" anchor="t">
            <a:normAutofit/>
          </a:bodyPr>
          <a:lstStyle>
            <a:lvl1pPr algn="l">
              <a:defRPr sz="1500" b="0" i="0" u="none" strike="noStrike">
                <a:solidFill>
                  <a:schemeClr val="tx1">
                    <a:lumMod val="100000"/>
                  </a:schemeClr>
                </a:solidFill>
                <a:latin typeface="Arial" panose="020B0604020202020204" pitchFamily="34" charset="0"/>
              </a:defRPr>
            </a:lvl1pPr>
            <a:lvl2pPr algn="l">
              <a:defRPr sz="1500" b="0" i="0" u="none" strike="noStrike">
                <a:solidFill>
                  <a:schemeClr val="tx1">
                    <a:lumMod val="100000"/>
                  </a:schemeClr>
                </a:solidFill>
                <a:latin typeface="Arial" panose="020B0604020202020204" pitchFamily="34" charset="0"/>
              </a:defRPr>
            </a:lvl2pPr>
            <a:lvl3pPr algn="l">
              <a:defRPr sz="1500" b="0" i="0" u="none" strike="noStrike">
                <a:solidFill>
                  <a:schemeClr val="tx1">
                    <a:lumMod val="100000"/>
                  </a:schemeClr>
                </a:solidFill>
                <a:latin typeface="Arial" panose="020B0604020202020204" pitchFamily="34" charset="0"/>
              </a:defRPr>
            </a:lvl3pPr>
            <a:lvl4pPr algn="l">
              <a:defRPr sz="1500" b="1" i="0" u="none" strike="noStrike">
                <a:solidFill>
                  <a:schemeClr val="tx1">
                    <a:lumMod val="100000"/>
                  </a:schemeClr>
                </a:solidFill>
                <a:latin typeface="Arial" panose="020B0604020202020204" pitchFamily="34" charset="0"/>
              </a:defRPr>
            </a:lvl4pPr>
            <a:lvl5pPr algn="l">
              <a:defRPr sz="1500" b="0" i="0" u="none" strike="noStrike">
                <a:solidFill>
                  <a:schemeClr val="tx1">
                    <a:lumMod val="100000"/>
                  </a:schemeClr>
                </a:solidFill>
                <a:latin typeface="Arial" panose="020B0604020202020204" pitchFamily="34" charset="0"/>
              </a:defRPr>
            </a:lvl5pPr>
            <a:lvl6pPr algn="l">
              <a:defRPr sz="1050" b="0" i="0" u="none" strike="noStrike">
                <a:solidFill>
                  <a:schemeClr val="tx1">
                    <a:lumMod val="100000"/>
                  </a:schemeClr>
                </a:solidFill>
                <a:latin typeface="Arial" panose="020B0604020202020204" pitchFamily="34" charset="0"/>
              </a:defRPr>
            </a:lvl6pPr>
            <a:lvl7pPr algn="l">
              <a:defRPr sz="1050" b="1" i="0" u="none" strike="noStrike">
                <a:solidFill>
                  <a:schemeClr val="tx1">
                    <a:lumMod val="100000"/>
                  </a:schemeClr>
                </a:solidFill>
                <a:latin typeface="Arial" panose="020B0604020202020204" pitchFamily="34" charset="0"/>
              </a:defRPr>
            </a:lvl7pPr>
            <a:lvl8pPr algn="l">
              <a:defRPr sz="1050" b="0" i="0" u="none" strike="noStrike">
                <a:solidFill>
                  <a:schemeClr val="tx1">
                    <a:lumMod val="100000"/>
                  </a:schemeClr>
                </a:solidFill>
                <a:latin typeface="Arial" panose="020B0604020202020204" pitchFamily="34" charset="0"/>
              </a:defRPr>
            </a:lvl8pPr>
            <a:lvl9pPr algn="l">
              <a:defRPr sz="4950" b="0" i="0" u="none" strike="noStrike">
                <a:solidFill>
                  <a:schemeClr val="tx1">
                    <a:lumMod val="100000"/>
                  </a:schemeClr>
                </a:solidFill>
                <a:latin typeface="Arial" panose="020B0604020202020204" pitchFamily="34" charset="0"/>
              </a:defRPr>
            </a:lvl9pPr>
          </a:lstStyle>
          <a:p>
            <a:pPr lvl="0"/>
            <a:r>
              <a:rPr lang="da-DK" dirty="0"/>
              <a:t>Her kan du tilføje din tekst. Du kan slukke for bullets, hvis det er mere oplagt til dit indhold.</a:t>
            </a:r>
          </a:p>
          <a:p>
            <a:pPr lvl="8"/>
            <a:endParaRPr lang="da-DK" dirty="0"/>
          </a:p>
        </p:txBody>
      </p:sp>
      <p:sp>
        <p:nvSpPr>
          <p:cNvPr id="14" name="Text Placeholder 6">
            <a:extLst>
              <a:ext uri="{FF2B5EF4-FFF2-40B4-BE49-F238E27FC236}">
                <a16:creationId xmlns:a16="http://schemas.microsoft.com/office/drawing/2014/main" id="{D272BEC5-5506-4652-A75B-AFE909A06D88}"/>
              </a:ext>
            </a:extLst>
          </p:cNvPr>
          <p:cNvSpPr>
            <a:spLocks noGrp="1"/>
          </p:cNvSpPr>
          <p:nvPr>
            <p:ph type="body" sz="quarter" idx="21" hasCustomPrompt="1"/>
          </p:nvPr>
        </p:nvSpPr>
        <p:spPr>
          <a:xfrm>
            <a:off x="6080750" y="1188504"/>
            <a:ext cx="2646000" cy="3219450"/>
          </a:xfrm>
          <a:noFill/>
          <a:effectLst/>
          <a:extLst>
            <a:ext uri="{909E8E84-426E-40DD-AFC4-6F175D3DCCD1}">
              <a14:hiddenFill xmlns:a14="http://schemas.microsoft.com/office/drawing/2010/main">
                <a:solidFill>
                  <a:schemeClr val="accent1"/>
                </a:solidFill>
              </a14:hiddenFill>
            </a:ext>
          </a:extLst>
        </p:spPr>
        <p:txBody>
          <a:bodyPr vert="horz" wrap="square" lIns="0" tIns="45720" rIns="91440" anchor="t">
            <a:normAutofit/>
          </a:bodyPr>
          <a:lstStyle>
            <a:lvl1pPr algn="l">
              <a:defRPr sz="1500" b="0" i="0" u="none" strike="noStrike">
                <a:solidFill>
                  <a:schemeClr val="tx1">
                    <a:lumMod val="100000"/>
                  </a:schemeClr>
                </a:solidFill>
                <a:latin typeface="Arial" panose="020B0604020202020204" pitchFamily="34" charset="0"/>
              </a:defRPr>
            </a:lvl1pPr>
            <a:lvl2pPr algn="l">
              <a:defRPr sz="1500" b="0" i="0" u="none" strike="noStrike">
                <a:solidFill>
                  <a:schemeClr val="tx1">
                    <a:lumMod val="100000"/>
                  </a:schemeClr>
                </a:solidFill>
                <a:latin typeface="Arial" panose="020B0604020202020204" pitchFamily="34" charset="0"/>
              </a:defRPr>
            </a:lvl2pPr>
            <a:lvl3pPr algn="l">
              <a:defRPr sz="1500" b="0" i="0" u="none" strike="noStrike">
                <a:solidFill>
                  <a:schemeClr val="tx1">
                    <a:lumMod val="100000"/>
                  </a:schemeClr>
                </a:solidFill>
                <a:latin typeface="Arial" panose="020B0604020202020204" pitchFamily="34" charset="0"/>
              </a:defRPr>
            </a:lvl3pPr>
            <a:lvl4pPr algn="l">
              <a:defRPr sz="1500" b="1" i="0" u="none" strike="noStrike">
                <a:solidFill>
                  <a:schemeClr val="tx1">
                    <a:lumMod val="100000"/>
                  </a:schemeClr>
                </a:solidFill>
                <a:latin typeface="Arial" panose="020B0604020202020204" pitchFamily="34" charset="0"/>
              </a:defRPr>
            </a:lvl4pPr>
            <a:lvl5pPr algn="l">
              <a:defRPr sz="1500" b="0" i="0" u="none" strike="noStrike">
                <a:solidFill>
                  <a:schemeClr val="tx1">
                    <a:lumMod val="100000"/>
                  </a:schemeClr>
                </a:solidFill>
                <a:latin typeface="Arial" panose="020B0604020202020204" pitchFamily="34" charset="0"/>
              </a:defRPr>
            </a:lvl5pPr>
            <a:lvl6pPr algn="l">
              <a:defRPr sz="1050" b="0" i="0" u="none" strike="noStrike">
                <a:solidFill>
                  <a:schemeClr val="tx1">
                    <a:lumMod val="100000"/>
                  </a:schemeClr>
                </a:solidFill>
                <a:latin typeface="Arial" panose="020B0604020202020204" pitchFamily="34" charset="0"/>
              </a:defRPr>
            </a:lvl6pPr>
            <a:lvl7pPr algn="l">
              <a:defRPr sz="1050" b="1" i="0" u="none" strike="noStrike">
                <a:solidFill>
                  <a:schemeClr val="tx1">
                    <a:lumMod val="100000"/>
                  </a:schemeClr>
                </a:solidFill>
                <a:latin typeface="Arial" panose="020B0604020202020204" pitchFamily="34" charset="0"/>
              </a:defRPr>
            </a:lvl7pPr>
            <a:lvl8pPr algn="l">
              <a:defRPr sz="1050" b="0" i="0" u="none" strike="noStrike">
                <a:solidFill>
                  <a:schemeClr val="tx1">
                    <a:lumMod val="100000"/>
                  </a:schemeClr>
                </a:solidFill>
                <a:latin typeface="Arial" panose="020B0604020202020204" pitchFamily="34" charset="0"/>
              </a:defRPr>
            </a:lvl8pPr>
            <a:lvl9pPr algn="l">
              <a:defRPr sz="4950" b="0" i="0" u="none" strike="noStrike">
                <a:solidFill>
                  <a:schemeClr val="tx1">
                    <a:lumMod val="100000"/>
                  </a:schemeClr>
                </a:solidFill>
                <a:latin typeface="Arial" panose="020B0604020202020204" pitchFamily="34" charset="0"/>
              </a:defRPr>
            </a:lvl9pPr>
          </a:lstStyle>
          <a:p>
            <a:pPr lvl="0"/>
            <a:r>
              <a:rPr lang="da-DK" dirty="0"/>
              <a:t>Her kan du tilføje din tekst. Du kan slukke for bullets, hvis det er mere oplagt til dit indhold.</a:t>
            </a:r>
          </a:p>
          <a:p>
            <a:pPr lvl="8"/>
            <a:endParaRPr lang="da-DK" dirty="0"/>
          </a:p>
        </p:txBody>
      </p:sp>
      <p:sp>
        <p:nvSpPr>
          <p:cNvPr id="6" name="Pladsholder til slidenummer 5">
            <a:extLst>
              <a:ext uri="{FF2B5EF4-FFF2-40B4-BE49-F238E27FC236}">
                <a16:creationId xmlns:a16="http://schemas.microsoft.com/office/drawing/2014/main" id="{C8905E14-F182-474E-93A8-3FE816D40D9E}"/>
              </a:ext>
            </a:extLst>
          </p:cNvPr>
          <p:cNvSpPr>
            <a:spLocks noGrp="1"/>
          </p:cNvSpPr>
          <p:nvPr>
            <p:ph type="sldNum" sz="quarter" idx="12"/>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3" name="Date Placeholder 2">
            <a:extLst>
              <a:ext uri="{FF2B5EF4-FFF2-40B4-BE49-F238E27FC236}">
                <a16:creationId xmlns:a16="http://schemas.microsoft.com/office/drawing/2014/main" id="{1B9CB307-64D2-41FB-9016-C2C67DE10466}"/>
              </a:ext>
            </a:extLst>
          </p:cNvPr>
          <p:cNvSpPr>
            <a:spLocks noGrp="1"/>
          </p:cNvSpPr>
          <p:nvPr>
            <p:ph type="dt" sz="half" idx="17"/>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954B1BD0-AEFE-4DE0-9442-5FB9EA630A1E}" type="datetime2">
              <a:rPr lang="da-DK" smtClean="0"/>
              <a:t>17. september 2025</a:t>
            </a:fld>
            <a:endParaRPr lang="da-DK" dirty="0"/>
          </a:p>
        </p:txBody>
      </p:sp>
      <p:sp>
        <p:nvSpPr>
          <p:cNvPr id="4" name="Footer Placeholder 3">
            <a:extLst>
              <a:ext uri="{FF2B5EF4-FFF2-40B4-BE49-F238E27FC236}">
                <a16:creationId xmlns:a16="http://schemas.microsoft.com/office/drawing/2014/main" id="{B77819E8-4E84-4496-9474-2C7E65FC707B}"/>
              </a:ext>
            </a:extLst>
          </p:cNvPr>
          <p:cNvSpPr>
            <a:spLocks noGrp="1"/>
          </p:cNvSpPr>
          <p:nvPr>
            <p:ph type="ftr" sz="quarter" idx="18"/>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Tree>
    <p:extLst>
      <p:ext uri="{BB962C8B-B14F-4D97-AF65-F5344CB8AC3E}">
        <p14:creationId xmlns:p14="http://schemas.microsoft.com/office/powerpoint/2010/main" val="3202742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re tekstbokse_2">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A55EED1-E1CA-A51A-76F5-DFF1C6065031}"/>
              </a:ext>
            </a:extLst>
          </p:cNvPr>
          <p:cNvSpPr/>
          <p:nvPr userDrawn="1"/>
        </p:nvSpPr>
        <p:spPr bwMode="white">
          <a:xfrm>
            <a:off x="0" y="0"/>
            <a:ext cx="9144000" cy="5143500"/>
          </a:xfrm>
          <a:prstGeom prst="rect">
            <a:avLst/>
          </a:prstGeom>
          <a:solidFill>
            <a:srgbClr val="1E6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 name="Titel 1">
            <a:extLst>
              <a:ext uri="{FF2B5EF4-FFF2-40B4-BE49-F238E27FC236}">
                <a16:creationId xmlns:a16="http://schemas.microsoft.com/office/drawing/2014/main" id="{46E4B57B-A786-0D40-BE76-7BCC1CA0C47C}"/>
              </a:ext>
            </a:extLst>
          </p:cNvPr>
          <p:cNvSpPr>
            <a:spLocks noGrp="1"/>
          </p:cNvSpPr>
          <p:nvPr>
            <p:ph type="title" hasCustomPrompt="1"/>
          </p:nvPr>
        </p:nvSpPr>
        <p:spPr>
          <a:xfrm>
            <a:off x="417250" y="205979"/>
            <a:ext cx="8313603" cy="857250"/>
          </a:xfrm>
          <a:prstGeom prst="rect">
            <a:avLst/>
          </a:prstGeom>
          <a:effectLst/>
        </p:spPr>
        <p:txBody>
          <a:bodyPr vert="horz" wrap="square" anchor="b">
            <a:noAutofit/>
          </a:bodyPr>
          <a:lstStyle>
            <a:lvl1pPr algn="l">
              <a:defRPr sz="2400" b="0" i="0" u="none" strike="noStrike">
                <a:solidFill>
                  <a:schemeClr val="tx1"/>
                </a:solidFill>
                <a:latin typeface="Arial" panose="020B0604020202020204" pitchFamily="34" charset="0"/>
              </a:defRPr>
            </a:lvl1pPr>
          </a:lstStyle>
          <a:p>
            <a:r>
              <a:rPr lang="da-DK" dirty="0"/>
              <a:t>Skriv din overskrift her</a:t>
            </a:r>
          </a:p>
        </p:txBody>
      </p:sp>
      <p:sp>
        <p:nvSpPr>
          <p:cNvPr id="7" name="Text Placeholder 6">
            <a:extLst>
              <a:ext uri="{FF2B5EF4-FFF2-40B4-BE49-F238E27FC236}">
                <a16:creationId xmlns:a16="http://schemas.microsoft.com/office/drawing/2014/main" id="{3EDA1F0C-E9E3-474F-9379-766220B8E8EE}"/>
              </a:ext>
            </a:extLst>
          </p:cNvPr>
          <p:cNvSpPr>
            <a:spLocks noGrp="1"/>
          </p:cNvSpPr>
          <p:nvPr>
            <p:ph type="body" sz="quarter" idx="19" hasCustomPrompt="1"/>
          </p:nvPr>
        </p:nvSpPr>
        <p:spPr>
          <a:xfrm>
            <a:off x="417250" y="1188504"/>
            <a:ext cx="2646000" cy="3219450"/>
          </a:xfrm>
          <a:noFill/>
          <a:effectLst/>
          <a:extLst>
            <a:ext uri="{909E8E84-426E-40DD-AFC4-6F175D3DCCD1}">
              <a14:hiddenFill xmlns:a14="http://schemas.microsoft.com/office/drawing/2010/main">
                <a:solidFill>
                  <a:schemeClr val="accent1"/>
                </a:solidFill>
              </a14:hiddenFill>
            </a:ext>
          </a:extLst>
        </p:spPr>
        <p:txBody>
          <a:bodyPr vert="horz" wrap="square" lIns="0" tIns="45720" rIns="91440" anchor="t">
            <a:normAutofit/>
          </a:bodyPr>
          <a:lstStyle>
            <a:lvl1pPr algn="l">
              <a:defRPr sz="1500" b="0" i="0" u="none" strike="noStrike">
                <a:solidFill>
                  <a:schemeClr val="tx1"/>
                </a:solidFill>
                <a:latin typeface="Arial" panose="020B0604020202020204" pitchFamily="34" charset="0"/>
              </a:defRPr>
            </a:lvl1pPr>
            <a:lvl2pPr algn="l">
              <a:defRPr sz="1500" b="0" i="0" u="none" strike="noStrike">
                <a:solidFill>
                  <a:schemeClr val="tx1"/>
                </a:solidFill>
                <a:latin typeface="Arial" panose="020B0604020202020204" pitchFamily="34" charset="0"/>
              </a:defRPr>
            </a:lvl2pPr>
            <a:lvl3pPr algn="l">
              <a:defRPr sz="1500" b="0" i="0" u="none" strike="noStrike">
                <a:solidFill>
                  <a:schemeClr val="tx1"/>
                </a:solidFill>
                <a:latin typeface="Arial" panose="020B0604020202020204" pitchFamily="34" charset="0"/>
              </a:defRPr>
            </a:lvl3pPr>
            <a:lvl4pPr algn="l">
              <a:defRPr sz="1500" b="1" i="0" u="none" strike="noStrike">
                <a:solidFill>
                  <a:schemeClr val="tx1"/>
                </a:solidFill>
                <a:latin typeface="Arial" panose="020B0604020202020204" pitchFamily="34" charset="0"/>
              </a:defRPr>
            </a:lvl4pPr>
            <a:lvl5pPr algn="l">
              <a:defRPr sz="1500" b="0" i="0" u="none" strike="noStrike">
                <a:solidFill>
                  <a:schemeClr val="tx1"/>
                </a:solidFill>
                <a:latin typeface="Arial" panose="020B0604020202020204" pitchFamily="34" charset="0"/>
              </a:defRPr>
            </a:lvl5pPr>
            <a:lvl6pPr algn="l">
              <a:defRPr sz="1050" b="0" i="0" u="none" strike="noStrike">
                <a:solidFill>
                  <a:schemeClr val="tx1"/>
                </a:solidFill>
                <a:latin typeface="Arial" panose="020B0604020202020204" pitchFamily="34" charset="0"/>
              </a:defRPr>
            </a:lvl6pPr>
            <a:lvl7pPr algn="l">
              <a:defRPr sz="1050" b="1" i="0" u="none" strike="noStrike">
                <a:solidFill>
                  <a:schemeClr val="tx1"/>
                </a:solidFill>
                <a:latin typeface="Arial" panose="020B0604020202020204" pitchFamily="34" charset="0"/>
              </a:defRPr>
            </a:lvl7pPr>
            <a:lvl8pPr algn="l">
              <a:defRPr sz="1050" b="0" i="0" u="none" strike="noStrike">
                <a:solidFill>
                  <a:schemeClr val="tx1"/>
                </a:solidFill>
                <a:latin typeface="Arial" panose="020B0604020202020204" pitchFamily="34" charset="0"/>
              </a:defRPr>
            </a:lvl8pPr>
            <a:lvl9pPr algn="l">
              <a:defRPr sz="4950" b="0" i="0" u="none" strike="noStrike">
                <a:solidFill>
                  <a:schemeClr val="tx1"/>
                </a:solidFill>
                <a:latin typeface="Arial" panose="020B0604020202020204" pitchFamily="34" charset="0"/>
              </a:defRPr>
            </a:lvl9pPr>
          </a:lstStyle>
          <a:p>
            <a:pPr lvl="0"/>
            <a:r>
              <a:rPr lang="da-DK" dirty="0"/>
              <a:t>Her kan du tilføje din tekst. Du kanslukke for bullets, hvis det er mere oplagt til ditindhold.</a:t>
            </a:r>
          </a:p>
          <a:p>
            <a:pPr lvl="8"/>
            <a:endParaRPr lang="da-DK" dirty="0"/>
          </a:p>
        </p:txBody>
      </p:sp>
      <p:sp>
        <p:nvSpPr>
          <p:cNvPr id="13" name="Text Placeholder 6">
            <a:extLst>
              <a:ext uri="{FF2B5EF4-FFF2-40B4-BE49-F238E27FC236}">
                <a16:creationId xmlns:a16="http://schemas.microsoft.com/office/drawing/2014/main" id="{53042BB5-3B13-48E8-865F-38764722C88D}"/>
              </a:ext>
            </a:extLst>
          </p:cNvPr>
          <p:cNvSpPr>
            <a:spLocks noGrp="1"/>
          </p:cNvSpPr>
          <p:nvPr>
            <p:ph type="body" sz="quarter" idx="20" hasCustomPrompt="1"/>
          </p:nvPr>
        </p:nvSpPr>
        <p:spPr>
          <a:xfrm>
            <a:off x="3249000" y="1188504"/>
            <a:ext cx="2646000" cy="3219450"/>
          </a:xfrm>
          <a:noFill/>
          <a:effectLst/>
          <a:extLst>
            <a:ext uri="{909E8E84-426E-40DD-AFC4-6F175D3DCCD1}">
              <a14:hiddenFill xmlns:a14="http://schemas.microsoft.com/office/drawing/2010/main">
                <a:solidFill>
                  <a:schemeClr val="accent1"/>
                </a:solidFill>
              </a14:hiddenFill>
            </a:ext>
          </a:extLst>
        </p:spPr>
        <p:txBody>
          <a:bodyPr vert="horz" wrap="square" lIns="0" tIns="45720" rIns="91440" anchor="t">
            <a:normAutofit/>
          </a:bodyPr>
          <a:lstStyle>
            <a:lvl1pPr algn="l">
              <a:defRPr sz="1500" b="0" i="0" u="none" strike="noStrike">
                <a:solidFill>
                  <a:schemeClr val="tx1"/>
                </a:solidFill>
                <a:latin typeface="Arial" panose="020B0604020202020204" pitchFamily="34" charset="0"/>
              </a:defRPr>
            </a:lvl1pPr>
            <a:lvl2pPr algn="l">
              <a:defRPr sz="1500" b="0" i="0" u="none" strike="noStrike">
                <a:solidFill>
                  <a:schemeClr val="tx1"/>
                </a:solidFill>
                <a:latin typeface="Arial" panose="020B0604020202020204" pitchFamily="34" charset="0"/>
              </a:defRPr>
            </a:lvl2pPr>
            <a:lvl3pPr algn="l">
              <a:defRPr sz="1500" b="0" i="0" u="none" strike="noStrike">
                <a:solidFill>
                  <a:schemeClr val="tx1"/>
                </a:solidFill>
                <a:latin typeface="Arial" panose="020B0604020202020204" pitchFamily="34" charset="0"/>
              </a:defRPr>
            </a:lvl3pPr>
            <a:lvl4pPr algn="l">
              <a:defRPr sz="1500" b="1" i="0" u="none" strike="noStrike">
                <a:solidFill>
                  <a:schemeClr val="tx1"/>
                </a:solidFill>
                <a:latin typeface="Arial" panose="020B0604020202020204" pitchFamily="34" charset="0"/>
              </a:defRPr>
            </a:lvl4pPr>
            <a:lvl5pPr algn="l">
              <a:defRPr sz="1500" b="0" i="0" u="none" strike="noStrike">
                <a:solidFill>
                  <a:schemeClr val="tx1"/>
                </a:solidFill>
                <a:latin typeface="Arial" panose="020B0604020202020204" pitchFamily="34" charset="0"/>
              </a:defRPr>
            </a:lvl5pPr>
            <a:lvl6pPr algn="l">
              <a:defRPr sz="1050" b="0" i="0" u="none" strike="noStrike">
                <a:solidFill>
                  <a:schemeClr val="tx1"/>
                </a:solidFill>
                <a:latin typeface="Arial" panose="020B0604020202020204" pitchFamily="34" charset="0"/>
              </a:defRPr>
            </a:lvl6pPr>
            <a:lvl7pPr algn="l">
              <a:defRPr sz="1050" b="1" i="0" u="none" strike="noStrike">
                <a:solidFill>
                  <a:schemeClr val="tx1"/>
                </a:solidFill>
                <a:latin typeface="Arial" panose="020B0604020202020204" pitchFamily="34" charset="0"/>
              </a:defRPr>
            </a:lvl7pPr>
            <a:lvl8pPr algn="l">
              <a:defRPr sz="1050" b="0" i="0" u="none" strike="noStrike">
                <a:solidFill>
                  <a:schemeClr val="tx1"/>
                </a:solidFill>
                <a:latin typeface="Arial" panose="020B0604020202020204" pitchFamily="34" charset="0"/>
              </a:defRPr>
            </a:lvl8pPr>
            <a:lvl9pPr algn="l">
              <a:defRPr sz="4950" b="0" i="0" u="none" strike="noStrike">
                <a:solidFill>
                  <a:schemeClr val="tx1"/>
                </a:solidFill>
                <a:latin typeface="Arial" panose="020B0604020202020204" pitchFamily="34" charset="0"/>
              </a:defRPr>
            </a:lvl9pPr>
          </a:lstStyle>
          <a:p>
            <a:pPr lvl="0"/>
            <a:r>
              <a:rPr lang="da-DK" dirty="0"/>
              <a:t>Her kan du tilføje din tekst. Du kanslukke for bullets, hvis det er mere oplagt til ditindhold.</a:t>
            </a:r>
          </a:p>
          <a:p>
            <a:pPr lvl="8"/>
            <a:endParaRPr lang="da-DK" dirty="0"/>
          </a:p>
        </p:txBody>
      </p:sp>
      <p:sp>
        <p:nvSpPr>
          <p:cNvPr id="14" name="Text Placeholder 6">
            <a:extLst>
              <a:ext uri="{FF2B5EF4-FFF2-40B4-BE49-F238E27FC236}">
                <a16:creationId xmlns:a16="http://schemas.microsoft.com/office/drawing/2014/main" id="{D272BEC5-5506-4652-A75B-AFE909A06D88}"/>
              </a:ext>
            </a:extLst>
          </p:cNvPr>
          <p:cNvSpPr>
            <a:spLocks noGrp="1"/>
          </p:cNvSpPr>
          <p:nvPr>
            <p:ph type="body" sz="quarter" idx="21" hasCustomPrompt="1"/>
          </p:nvPr>
        </p:nvSpPr>
        <p:spPr>
          <a:xfrm>
            <a:off x="6080750" y="1188504"/>
            <a:ext cx="2646000" cy="3219450"/>
          </a:xfrm>
          <a:noFill/>
          <a:effectLst/>
          <a:extLst>
            <a:ext uri="{909E8E84-426E-40DD-AFC4-6F175D3DCCD1}">
              <a14:hiddenFill xmlns:a14="http://schemas.microsoft.com/office/drawing/2010/main">
                <a:solidFill>
                  <a:schemeClr val="accent1"/>
                </a:solidFill>
              </a14:hiddenFill>
            </a:ext>
          </a:extLst>
        </p:spPr>
        <p:txBody>
          <a:bodyPr vert="horz" wrap="square" lIns="0" tIns="45720" rIns="91440" anchor="t">
            <a:normAutofit/>
          </a:bodyPr>
          <a:lstStyle>
            <a:lvl1pPr algn="l">
              <a:defRPr sz="1500" b="0" i="0" u="none" strike="noStrike">
                <a:solidFill>
                  <a:schemeClr val="tx1"/>
                </a:solidFill>
                <a:latin typeface="Arial" panose="020B0604020202020204" pitchFamily="34" charset="0"/>
              </a:defRPr>
            </a:lvl1pPr>
            <a:lvl2pPr algn="l">
              <a:defRPr sz="1500" b="0" i="0" u="none" strike="noStrike">
                <a:solidFill>
                  <a:schemeClr val="tx1"/>
                </a:solidFill>
                <a:latin typeface="Arial" panose="020B0604020202020204" pitchFamily="34" charset="0"/>
              </a:defRPr>
            </a:lvl2pPr>
            <a:lvl3pPr algn="l">
              <a:defRPr sz="1500" b="0" i="0" u="none" strike="noStrike">
                <a:solidFill>
                  <a:schemeClr val="tx1"/>
                </a:solidFill>
                <a:latin typeface="Arial" panose="020B0604020202020204" pitchFamily="34" charset="0"/>
              </a:defRPr>
            </a:lvl3pPr>
            <a:lvl4pPr algn="l">
              <a:defRPr sz="1500" b="1" i="0" u="none" strike="noStrike">
                <a:solidFill>
                  <a:schemeClr val="tx1"/>
                </a:solidFill>
                <a:latin typeface="Arial" panose="020B0604020202020204" pitchFamily="34" charset="0"/>
              </a:defRPr>
            </a:lvl4pPr>
            <a:lvl5pPr algn="l">
              <a:defRPr sz="1500" b="0" i="0" u="none" strike="noStrike">
                <a:solidFill>
                  <a:schemeClr val="tx1"/>
                </a:solidFill>
                <a:latin typeface="Arial" panose="020B0604020202020204" pitchFamily="34" charset="0"/>
              </a:defRPr>
            </a:lvl5pPr>
            <a:lvl6pPr algn="l">
              <a:defRPr sz="1050" b="0" i="0" u="none" strike="noStrike">
                <a:solidFill>
                  <a:schemeClr val="tx1"/>
                </a:solidFill>
                <a:latin typeface="Arial" panose="020B0604020202020204" pitchFamily="34" charset="0"/>
              </a:defRPr>
            </a:lvl6pPr>
            <a:lvl7pPr algn="l">
              <a:defRPr sz="1050" b="1" i="0" u="none" strike="noStrike">
                <a:solidFill>
                  <a:schemeClr val="tx1"/>
                </a:solidFill>
                <a:latin typeface="Arial" panose="020B0604020202020204" pitchFamily="34" charset="0"/>
              </a:defRPr>
            </a:lvl7pPr>
            <a:lvl8pPr algn="l">
              <a:defRPr sz="1050" b="0" i="0" u="none" strike="noStrike">
                <a:solidFill>
                  <a:schemeClr val="tx1"/>
                </a:solidFill>
                <a:latin typeface="Arial" panose="020B0604020202020204" pitchFamily="34" charset="0"/>
              </a:defRPr>
            </a:lvl8pPr>
            <a:lvl9pPr algn="l">
              <a:defRPr sz="4950" b="0" i="0" u="none" strike="noStrike">
                <a:solidFill>
                  <a:schemeClr val="tx1"/>
                </a:solidFill>
                <a:latin typeface="Arial" panose="020B0604020202020204" pitchFamily="34" charset="0"/>
              </a:defRPr>
            </a:lvl9pPr>
          </a:lstStyle>
          <a:p>
            <a:pPr lvl="0"/>
            <a:r>
              <a:rPr lang="da-DK" dirty="0"/>
              <a:t>Her kan du tilføje din tekst. Du kanslukke for bullets, hvis det er mere oplagt til ditindhold.</a:t>
            </a:r>
          </a:p>
          <a:p>
            <a:pPr lvl="8"/>
            <a:endParaRPr lang="da-DK" dirty="0"/>
          </a:p>
        </p:txBody>
      </p:sp>
      <p:sp>
        <p:nvSpPr>
          <p:cNvPr id="6" name="Pladsholder til slidenummer 5">
            <a:extLst>
              <a:ext uri="{FF2B5EF4-FFF2-40B4-BE49-F238E27FC236}">
                <a16:creationId xmlns:a16="http://schemas.microsoft.com/office/drawing/2014/main" id="{C8905E14-F182-474E-93A8-3FE816D40D9E}"/>
              </a:ext>
            </a:extLst>
          </p:cNvPr>
          <p:cNvSpPr>
            <a:spLocks noGrp="1"/>
          </p:cNvSpPr>
          <p:nvPr>
            <p:ph type="sldNum" sz="quarter" idx="12"/>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3" name="Date Placeholder 2">
            <a:extLst>
              <a:ext uri="{FF2B5EF4-FFF2-40B4-BE49-F238E27FC236}">
                <a16:creationId xmlns:a16="http://schemas.microsoft.com/office/drawing/2014/main" id="{1B9CB307-64D2-41FB-9016-C2C67DE10466}"/>
              </a:ext>
            </a:extLst>
          </p:cNvPr>
          <p:cNvSpPr>
            <a:spLocks noGrp="1"/>
          </p:cNvSpPr>
          <p:nvPr>
            <p:ph type="dt" sz="half" idx="17"/>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2E5E3E4A-D973-48F4-B04B-CA4A0D9B94BF}" type="datetime2">
              <a:rPr lang="da-DK" smtClean="0"/>
              <a:t>17. september 2025</a:t>
            </a:fld>
            <a:endParaRPr lang="da-DK" dirty="0"/>
          </a:p>
        </p:txBody>
      </p:sp>
      <p:sp>
        <p:nvSpPr>
          <p:cNvPr id="4" name="Footer Placeholder 3">
            <a:extLst>
              <a:ext uri="{FF2B5EF4-FFF2-40B4-BE49-F238E27FC236}">
                <a16:creationId xmlns:a16="http://schemas.microsoft.com/office/drawing/2014/main" id="{B77819E8-4E84-4496-9474-2C7E65FC707B}"/>
              </a:ext>
            </a:extLst>
          </p:cNvPr>
          <p:cNvSpPr>
            <a:spLocks noGrp="1"/>
          </p:cNvSpPr>
          <p:nvPr>
            <p:ph type="ftr" sz="quarter" idx="18"/>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Tree>
    <p:extLst>
      <p:ext uri="{BB962C8B-B14F-4D97-AF65-F5344CB8AC3E}">
        <p14:creationId xmlns:p14="http://schemas.microsoft.com/office/powerpoint/2010/main" val="4203715305"/>
      </p:ext>
    </p:extLst>
  </p:cSld>
  <p:clrMapOvr>
    <a:overrideClrMapping bg1="dk1" tx1="lt1" bg2="dk2" tx2="lt2" accent1="l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ire tekstbokse_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E4B57B-A786-0D40-BE76-7BCC1CA0C47C}"/>
              </a:ext>
            </a:extLst>
          </p:cNvPr>
          <p:cNvSpPr>
            <a:spLocks noGrp="1"/>
          </p:cNvSpPr>
          <p:nvPr>
            <p:ph type="title" hasCustomPrompt="1"/>
          </p:nvPr>
        </p:nvSpPr>
        <p:spPr>
          <a:xfrm>
            <a:off x="417250" y="205979"/>
            <a:ext cx="8313603" cy="857250"/>
          </a:xfrm>
          <a:prstGeom prst="rect">
            <a:avLst/>
          </a:prstGeom>
          <a:effectLst/>
        </p:spPr>
        <p:txBody>
          <a:bodyPr vert="horz" wrap="square" anchor="b">
            <a:noAutofit/>
          </a:bodyPr>
          <a:lstStyle>
            <a:lvl1pPr algn="l">
              <a:defRPr sz="2400" b="0" i="0" u="none" strike="noStrike">
                <a:solidFill>
                  <a:schemeClr val="tx1">
                    <a:lumMod val="100000"/>
                  </a:schemeClr>
                </a:solidFill>
                <a:latin typeface="Arial" panose="020B0604020202020204" pitchFamily="34" charset="0"/>
              </a:defRPr>
            </a:lvl1pPr>
          </a:lstStyle>
          <a:p>
            <a:r>
              <a:rPr lang="da-DK" dirty="0"/>
              <a:t>Skriv din overskrift her</a:t>
            </a:r>
          </a:p>
        </p:txBody>
      </p:sp>
      <p:sp>
        <p:nvSpPr>
          <p:cNvPr id="10" name="Text Placeholder 6">
            <a:extLst>
              <a:ext uri="{FF2B5EF4-FFF2-40B4-BE49-F238E27FC236}">
                <a16:creationId xmlns:a16="http://schemas.microsoft.com/office/drawing/2014/main" id="{5186FAFE-3E6D-4D97-9FDB-321309179BB1}"/>
              </a:ext>
            </a:extLst>
          </p:cNvPr>
          <p:cNvSpPr>
            <a:spLocks noGrp="1"/>
          </p:cNvSpPr>
          <p:nvPr>
            <p:ph type="body" sz="quarter" idx="20" hasCustomPrompt="1"/>
          </p:nvPr>
        </p:nvSpPr>
        <p:spPr>
          <a:xfrm>
            <a:off x="417251" y="1188504"/>
            <a:ext cx="1935425" cy="3219450"/>
          </a:xfrm>
          <a:noFill/>
          <a:effectLst/>
          <a:extLst>
            <a:ext uri="{909E8E84-426E-40DD-AFC4-6F175D3DCCD1}">
              <a14:hiddenFill xmlns:a14="http://schemas.microsoft.com/office/drawing/2010/main">
                <a:solidFill>
                  <a:schemeClr val="tx2"/>
                </a:solidFill>
              </a14:hiddenFill>
            </a:ext>
          </a:extLst>
        </p:spPr>
        <p:txBody>
          <a:bodyPr vert="horz" wrap="square" lIns="0" tIns="45720" rIns="91440" anchor="t">
            <a:normAutofit/>
          </a:bodyPr>
          <a:lstStyle>
            <a:lvl1pPr marL="307002" indent="-307002" algn="l">
              <a:defRPr sz="1500" b="0" i="0" u="none" strike="noStrike">
                <a:solidFill>
                  <a:schemeClr val="tx1">
                    <a:lumMod val="100000"/>
                  </a:schemeClr>
                </a:solidFill>
                <a:latin typeface="Arial" panose="020B0604020202020204" pitchFamily="34" charset="0"/>
              </a:defRPr>
            </a:lvl1pPr>
            <a:lvl2pPr marL="665171" indent="-255836" algn="l">
              <a:defRPr sz="1500" b="0" i="0" u="none" strike="noStrike">
                <a:solidFill>
                  <a:schemeClr val="tx1">
                    <a:lumMod val="100000"/>
                  </a:schemeClr>
                </a:solidFill>
                <a:latin typeface="Arial" panose="020B0604020202020204" pitchFamily="34" charset="0"/>
              </a:defRPr>
            </a:lvl2pPr>
            <a:lvl3pPr marL="1023341" indent="-204668" algn="l">
              <a:defRPr sz="1500" b="0" i="0" u="none" strike="noStrike">
                <a:solidFill>
                  <a:schemeClr val="tx1">
                    <a:lumMod val="100000"/>
                  </a:schemeClr>
                </a:solidFill>
                <a:latin typeface="Arial" panose="020B0604020202020204" pitchFamily="34" charset="0"/>
              </a:defRPr>
            </a:lvl3pPr>
            <a:lvl4pPr marL="33338" indent="-33338" algn="l">
              <a:defRPr sz="1500" b="1" i="0" u="none" strike="noStrike">
                <a:solidFill>
                  <a:schemeClr val="tx1">
                    <a:lumMod val="100000"/>
                  </a:schemeClr>
                </a:solidFill>
                <a:latin typeface="Arial" panose="020B0604020202020204" pitchFamily="34" charset="0"/>
              </a:defRPr>
            </a:lvl4pPr>
            <a:lvl5pPr marL="33338" indent="-33338" algn="l">
              <a:defRPr sz="1500" b="0" i="0" u="none" strike="noStrike">
                <a:solidFill>
                  <a:schemeClr val="tx1">
                    <a:lumMod val="100000"/>
                  </a:schemeClr>
                </a:solidFill>
                <a:latin typeface="Arial" panose="020B0604020202020204" pitchFamily="34" charset="0"/>
              </a:defRPr>
            </a:lvl5pPr>
            <a:lvl6pPr marL="0" indent="9525" algn="l">
              <a:defRPr sz="1050" b="0" i="0" u="none" strike="noStrike">
                <a:solidFill>
                  <a:schemeClr val="tx1">
                    <a:lumMod val="100000"/>
                  </a:schemeClr>
                </a:solidFill>
                <a:latin typeface="Arial" panose="020B0604020202020204" pitchFamily="34" charset="0"/>
              </a:defRPr>
            </a:lvl6pPr>
            <a:lvl7pPr marL="0" indent="9525" algn="l">
              <a:defRPr sz="1050" b="1" i="0" u="none" strike="noStrike">
                <a:solidFill>
                  <a:schemeClr val="tx1">
                    <a:lumMod val="100000"/>
                  </a:schemeClr>
                </a:solidFill>
                <a:latin typeface="Arial" panose="020B0604020202020204" pitchFamily="34" charset="0"/>
              </a:defRPr>
            </a:lvl7pPr>
            <a:lvl8pPr marL="0" indent="9525" algn="l">
              <a:defRPr sz="1050" b="0" i="0" u="none" strike="noStrike">
                <a:solidFill>
                  <a:schemeClr val="tx1">
                    <a:lumMod val="100000"/>
                  </a:schemeClr>
                </a:solidFill>
                <a:latin typeface="Arial" panose="020B0604020202020204" pitchFamily="34" charset="0"/>
              </a:defRPr>
            </a:lvl8pPr>
            <a:lvl9pPr marL="0" indent="9525" algn="l">
              <a:defRPr sz="4950" b="0" i="0" u="none" strike="noStrike">
                <a:solidFill>
                  <a:schemeClr val="tx1">
                    <a:lumMod val="100000"/>
                  </a:schemeClr>
                </a:solidFill>
                <a:latin typeface="Arial" panose="020B0604020202020204" pitchFamily="34" charset="0"/>
              </a:defRPr>
            </a:lvl9pPr>
          </a:lstStyle>
          <a:p>
            <a:pPr lvl="0"/>
            <a:r>
              <a:rPr lang="da-DK" dirty="0"/>
              <a:t>Her kan du tilføje din tekst. Du kan slukke for bullets, hvis det er mere oplagt til dit indhold.</a:t>
            </a:r>
          </a:p>
          <a:p>
            <a:pPr lvl="8"/>
            <a:endParaRPr lang="da-DK" dirty="0"/>
          </a:p>
        </p:txBody>
      </p:sp>
      <p:sp>
        <p:nvSpPr>
          <p:cNvPr id="12" name="Text Placeholder 6">
            <a:extLst>
              <a:ext uri="{FF2B5EF4-FFF2-40B4-BE49-F238E27FC236}">
                <a16:creationId xmlns:a16="http://schemas.microsoft.com/office/drawing/2014/main" id="{8111CA7F-A068-4746-88FD-4A7058B61633}"/>
              </a:ext>
            </a:extLst>
          </p:cNvPr>
          <p:cNvSpPr>
            <a:spLocks noGrp="1"/>
          </p:cNvSpPr>
          <p:nvPr>
            <p:ph type="body" sz="quarter" idx="21" hasCustomPrompt="1"/>
          </p:nvPr>
        </p:nvSpPr>
        <p:spPr>
          <a:xfrm>
            <a:off x="2541943" y="1194197"/>
            <a:ext cx="1935425" cy="3219450"/>
          </a:xfrm>
          <a:noFill/>
          <a:effectLst/>
          <a:extLst>
            <a:ext uri="{909E8E84-426E-40DD-AFC4-6F175D3DCCD1}">
              <a14:hiddenFill xmlns:a14="http://schemas.microsoft.com/office/drawing/2010/main">
                <a:solidFill>
                  <a:schemeClr val="tx2"/>
                </a:solidFill>
              </a14:hiddenFill>
            </a:ext>
          </a:extLst>
        </p:spPr>
        <p:txBody>
          <a:bodyPr vert="horz" wrap="square" lIns="0" tIns="45720" rIns="91440" anchor="t">
            <a:normAutofit/>
          </a:bodyPr>
          <a:lstStyle>
            <a:lvl1pPr marL="307002" indent="-307002" algn="l">
              <a:defRPr sz="1500" b="0" i="0" u="none" strike="noStrike">
                <a:solidFill>
                  <a:schemeClr val="tx1">
                    <a:lumMod val="100000"/>
                  </a:schemeClr>
                </a:solidFill>
                <a:latin typeface="Arial" panose="020B0604020202020204" pitchFamily="34" charset="0"/>
              </a:defRPr>
            </a:lvl1pPr>
            <a:lvl2pPr marL="665171" indent="-255836" algn="l">
              <a:defRPr sz="1500" b="0" i="0" u="none" strike="noStrike">
                <a:solidFill>
                  <a:schemeClr val="tx1">
                    <a:lumMod val="100000"/>
                  </a:schemeClr>
                </a:solidFill>
                <a:latin typeface="Arial" panose="020B0604020202020204" pitchFamily="34" charset="0"/>
              </a:defRPr>
            </a:lvl2pPr>
            <a:lvl3pPr marL="1023341" indent="-204668" algn="l">
              <a:defRPr sz="1500" b="0" i="0" u="none" strike="noStrike">
                <a:solidFill>
                  <a:schemeClr val="tx1">
                    <a:lumMod val="100000"/>
                  </a:schemeClr>
                </a:solidFill>
                <a:latin typeface="Arial" panose="020B0604020202020204" pitchFamily="34" charset="0"/>
              </a:defRPr>
            </a:lvl3pPr>
            <a:lvl4pPr marL="0" indent="9525" algn="l">
              <a:defRPr sz="1500" b="1" i="0" u="none" strike="noStrike">
                <a:solidFill>
                  <a:schemeClr val="tx1">
                    <a:lumMod val="100000"/>
                  </a:schemeClr>
                </a:solidFill>
                <a:latin typeface="Arial" panose="020B0604020202020204" pitchFamily="34" charset="0"/>
              </a:defRPr>
            </a:lvl4pPr>
            <a:lvl5pPr marL="0" indent="9525" algn="l">
              <a:defRPr sz="1500" b="0" i="0" u="none" strike="noStrike">
                <a:solidFill>
                  <a:schemeClr val="tx1">
                    <a:lumMod val="100000"/>
                  </a:schemeClr>
                </a:solidFill>
                <a:latin typeface="Arial" panose="020B0604020202020204" pitchFamily="34" charset="0"/>
              </a:defRPr>
            </a:lvl5pPr>
            <a:lvl6pPr marL="0" indent="9525" algn="l">
              <a:defRPr sz="1050" b="0" i="0" u="none" strike="noStrike">
                <a:solidFill>
                  <a:schemeClr val="tx1">
                    <a:lumMod val="100000"/>
                  </a:schemeClr>
                </a:solidFill>
                <a:latin typeface="Arial" panose="020B0604020202020204" pitchFamily="34" charset="0"/>
              </a:defRPr>
            </a:lvl6pPr>
            <a:lvl7pPr marL="0" indent="9525" algn="l">
              <a:defRPr sz="1050" b="1" i="0" u="none" strike="noStrike">
                <a:solidFill>
                  <a:schemeClr val="tx1">
                    <a:lumMod val="100000"/>
                  </a:schemeClr>
                </a:solidFill>
                <a:latin typeface="Arial" panose="020B0604020202020204" pitchFamily="34" charset="0"/>
              </a:defRPr>
            </a:lvl7pPr>
            <a:lvl8pPr marL="0" indent="9525" algn="l">
              <a:defRPr sz="1050" b="0" i="0" u="none" strike="noStrike">
                <a:solidFill>
                  <a:schemeClr val="tx1">
                    <a:lumMod val="100000"/>
                  </a:schemeClr>
                </a:solidFill>
                <a:latin typeface="Arial" panose="020B0604020202020204" pitchFamily="34" charset="0"/>
              </a:defRPr>
            </a:lvl8pPr>
            <a:lvl9pPr marL="0" indent="9525" algn="l">
              <a:defRPr sz="4950" b="0" i="0" u="none" strike="noStrike">
                <a:solidFill>
                  <a:schemeClr val="tx1">
                    <a:lumMod val="100000"/>
                  </a:schemeClr>
                </a:solidFill>
                <a:latin typeface="Arial" panose="020B0604020202020204" pitchFamily="34" charset="0"/>
              </a:defRPr>
            </a:lvl9pPr>
          </a:lstStyle>
          <a:p>
            <a:pPr lvl="0"/>
            <a:r>
              <a:rPr lang="da-DK" dirty="0"/>
              <a:t>Her kan du tilføje din tekst. Du kan slukke for bullets, hvis det er mere oplagt til dit indhold.</a:t>
            </a:r>
          </a:p>
          <a:p>
            <a:pPr lvl="8"/>
            <a:endParaRPr lang="da-DK" dirty="0"/>
          </a:p>
        </p:txBody>
      </p:sp>
      <p:sp>
        <p:nvSpPr>
          <p:cNvPr id="13" name="Text Placeholder 6">
            <a:extLst>
              <a:ext uri="{FF2B5EF4-FFF2-40B4-BE49-F238E27FC236}">
                <a16:creationId xmlns:a16="http://schemas.microsoft.com/office/drawing/2014/main" id="{25FE1FD7-3F09-48AD-97F0-3B15BC0FA317}"/>
              </a:ext>
            </a:extLst>
          </p:cNvPr>
          <p:cNvSpPr>
            <a:spLocks noGrp="1"/>
          </p:cNvSpPr>
          <p:nvPr>
            <p:ph type="body" sz="quarter" idx="22" hasCustomPrompt="1"/>
          </p:nvPr>
        </p:nvSpPr>
        <p:spPr>
          <a:xfrm>
            <a:off x="4666634" y="1194197"/>
            <a:ext cx="1935425" cy="3219450"/>
          </a:xfrm>
          <a:noFill/>
          <a:effectLst/>
          <a:extLst>
            <a:ext uri="{909E8E84-426E-40DD-AFC4-6F175D3DCCD1}">
              <a14:hiddenFill xmlns:a14="http://schemas.microsoft.com/office/drawing/2010/main">
                <a:solidFill>
                  <a:schemeClr val="tx2"/>
                </a:solidFill>
              </a14:hiddenFill>
            </a:ext>
          </a:extLst>
        </p:spPr>
        <p:txBody>
          <a:bodyPr vert="horz" wrap="square" lIns="0" tIns="45720" rIns="91440" anchor="t">
            <a:normAutofit/>
          </a:bodyPr>
          <a:lstStyle>
            <a:lvl1pPr marL="307002" indent="-307002" algn="l">
              <a:defRPr sz="1500" b="0" i="0" u="none" strike="noStrike">
                <a:solidFill>
                  <a:schemeClr val="tx1">
                    <a:lumMod val="100000"/>
                  </a:schemeClr>
                </a:solidFill>
                <a:latin typeface="Arial" panose="020B0604020202020204" pitchFamily="34" charset="0"/>
              </a:defRPr>
            </a:lvl1pPr>
            <a:lvl2pPr marL="665171" indent="-255836" algn="l">
              <a:defRPr sz="1500" b="0" i="0" u="none" strike="noStrike">
                <a:solidFill>
                  <a:schemeClr val="tx1">
                    <a:lumMod val="100000"/>
                  </a:schemeClr>
                </a:solidFill>
                <a:latin typeface="Arial" panose="020B0604020202020204" pitchFamily="34" charset="0"/>
              </a:defRPr>
            </a:lvl2pPr>
            <a:lvl3pPr marL="1023341" indent="-204668" algn="l">
              <a:defRPr sz="1500" b="0" i="0" u="none" strike="noStrike">
                <a:solidFill>
                  <a:schemeClr val="tx1">
                    <a:lumMod val="100000"/>
                  </a:schemeClr>
                </a:solidFill>
                <a:latin typeface="Arial" panose="020B0604020202020204" pitchFamily="34" charset="0"/>
              </a:defRPr>
            </a:lvl3pPr>
            <a:lvl4pPr marL="0" indent="9525" algn="l">
              <a:defRPr sz="1500" b="1" i="0" u="none" strike="noStrike">
                <a:solidFill>
                  <a:schemeClr val="tx1">
                    <a:lumMod val="100000"/>
                  </a:schemeClr>
                </a:solidFill>
                <a:latin typeface="Arial" panose="020B0604020202020204" pitchFamily="34" charset="0"/>
              </a:defRPr>
            </a:lvl4pPr>
            <a:lvl5pPr marL="0" indent="9525" algn="l">
              <a:defRPr sz="1500" b="0" i="0" u="none" strike="noStrike">
                <a:solidFill>
                  <a:schemeClr val="tx1">
                    <a:lumMod val="100000"/>
                  </a:schemeClr>
                </a:solidFill>
                <a:latin typeface="Arial" panose="020B0604020202020204" pitchFamily="34" charset="0"/>
              </a:defRPr>
            </a:lvl5pPr>
            <a:lvl6pPr marL="0" indent="9525" algn="l">
              <a:defRPr sz="1050" b="0" i="0" u="none" strike="noStrike">
                <a:solidFill>
                  <a:schemeClr val="tx1">
                    <a:lumMod val="100000"/>
                  </a:schemeClr>
                </a:solidFill>
                <a:latin typeface="Arial" panose="020B0604020202020204" pitchFamily="34" charset="0"/>
              </a:defRPr>
            </a:lvl6pPr>
            <a:lvl7pPr marL="0" indent="9525" algn="l">
              <a:defRPr sz="1050" b="1" i="0" u="none" strike="noStrike">
                <a:solidFill>
                  <a:schemeClr val="tx1">
                    <a:lumMod val="100000"/>
                  </a:schemeClr>
                </a:solidFill>
                <a:latin typeface="Arial" panose="020B0604020202020204" pitchFamily="34" charset="0"/>
              </a:defRPr>
            </a:lvl7pPr>
            <a:lvl8pPr marL="0" indent="9525" algn="l">
              <a:defRPr sz="1050" b="0" i="0" u="none" strike="noStrike">
                <a:solidFill>
                  <a:schemeClr val="tx1">
                    <a:lumMod val="100000"/>
                  </a:schemeClr>
                </a:solidFill>
                <a:latin typeface="Arial" panose="020B0604020202020204" pitchFamily="34" charset="0"/>
              </a:defRPr>
            </a:lvl8pPr>
            <a:lvl9pPr marL="0" indent="9525" algn="l">
              <a:defRPr sz="4950" b="0" i="0" u="none" strike="noStrike">
                <a:solidFill>
                  <a:schemeClr val="tx1">
                    <a:lumMod val="100000"/>
                  </a:schemeClr>
                </a:solidFill>
                <a:latin typeface="Arial" panose="020B0604020202020204" pitchFamily="34" charset="0"/>
              </a:defRPr>
            </a:lvl9pPr>
          </a:lstStyle>
          <a:p>
            <a:pPr lvl="0"/>
            <a:r>
              <a:rPr lang="da-DK" dirty="0"/>
              <a:t>Her kan du tilføje din tekst. Du kan slukke for bullets, hvis det er mere oplagt til dit indhold.</a:t>
            </a:r>
          </a:p>
          <a:p>
            <a:pPr lvl="8"/>
            <a:endParaRPr lang="da-DK" dirty="0"/>
          </a:p>
        </p:txBody>
      </p:sp>
      <p:sp>
        <p:nvSpPr>
          <p:cNvPr id="14" name="Text Placeholder 6">
            <a:extLst>
              <a:ext uri="{FF2B5EF4-FFF2-40B4-BE49-F238E27FC236}">
                <a16:creationId xmlns:a16="http://schemas.microsoft.com/office/drawing/2014/main" id="{74482849-EAA2-4610-8FBC-8AB72070DB15}"/>
              </a:ext>
            </a:extLst>
          </p:cNvPr>
          <p:cNvSpPr>
            <a:spLocks noGrp="1"/>
          </p:cNvSpPr>
          <p:nvPr>
            <p:ph type="body" sz="quarter" idx="23" hasCustomPrompt="1"/>
          </p:nvPr>
        </p:nvSpPr>
        <p:spPr>
          <a:xfrm>
            <a:off x="6791325" y="1194197"/>
            <a:ext cx="1935425" cy="3219450"/>
          </a:xfrm>
          <a:noFill/>
          <a:effectLst/>
          <a:extLst>
            <a:ext uri="{909E8E84-426E-40DD-AFC4-6F175D3DCCD1}">
              <a14:hiddenFill xmlns:a14="http://schemas.microsoft.com/office/drawing/2010/main">
                <a:solidFill>
                  <a:schemeClr val="tx2"/>
                </a:solidFill>
              </a14:hiddenFill>
            </a:ext>
          </a:extLst>
        </p:spPr>
        <p:txBody>
          <a:bodyPr vert="horz" wrap="square" lIns="0" tIns="45720" rIns="91440" anchor="t">
            <a:normAutofit/>
          </a:bodyPr>
          <a:lstStyle>
            <a:lvl1pPr marL="307002" indent="-307002" algn="l">
              <a:defRPr sz="1500" b="0" i="0" u="none" strike="noStrike">
                <a:solidFill>
                  <a:schemeClr val="tx1">
                    <a:lumMod val="100000"/>
                  </a:schemeClr>
                </a:solidFill>
                <a:latin typeface="Arial" panose="020B0604020202020204" pitchFamily="34" charset="0"/>
              </a:defRPr>
            </a:lvl1pPr>
            <a:lvl2pPr marL="665171" indent="-255836" algn="l">
              <a:defRPr sz="1500" b="0" i="0" u="none" strike="noStrike">
                <a:solidFill>
                  <a:schemeClr val="tx1">
                    <a:lumMod val="100000"/>
                  </a:schemeClr>
                </a:solidFill>
                <a:latin typeface="Arial" panose="020B0604020202020204" pitchFamily="34" charset="0"/>
              </a:defRPr>
            </a:lvl2pPr>
            <a:lvl3pPr marL="1023341" indent="-204668" algn="l">
              <a:defRPr sz="1500" b="0" i="0" u="none" strike="noStrike">
                <a:solidFill>
                  <a:schemeClr val="tx1">
                    <a:lumMod val="100000"/>
                  </a:schemeClr>
                </a:solidFill>
                <a:latin typeface="Arial" panose="020B0604020202020204" pitchFamily="34" charset="0"/>
              </a:defRPr>
            </a:lvl3pPr>
            <a:lvl4pPr marL="0" indent="26194" algn="l">
              <a:defRPr sz="1500" b="1" i="0" u="none" strike="noStrike">
                <a:solidFill>
                  <a:schemeClr val="tx1">
                    <a:lumMod val="100000"/>
                  </a:schemeClr>
                </a:solidFill>
                <a:latin typeface="Arial" panose="020B0604020202020204" pitchFamily="34" charset="0"/>
              </a:defRPr>
            </a:lvl4pPr>
            <a:lvl5pPr marL="0" indent="26194" algn="l">
              <a:defRPr sz="1500" b="0" i="0" u="none" strike="noStrike">
                <a:solidFill>
                  <a:schemeClr val="tx1">
                    <a:lumMod val="100000"/>
                  </a:schemeClr>
                </a:solidFill>
                <a:latin typeface="Arial" panose="020B0604020202020204" pitchFamily="34" charset="0"/>
              </a:defRPr>
            </a:lvl5pPr>
            <a:lvl6pPr marL="0" indent="26194" algn="l">
              <a:defRPr sz="1050" b="0" i="0" u="none" strike="noStrike">
                <a:solidFill>
                  <a:schemeClr val="tx1">
                    <a:lumMod val="100000"/>
                  </a:schemeClr>
                </a:solidFill>
                <a:latin typeface="Arial" panose="020B0604020202020204" pitchFamily="34" charset="0"/>
              </a:defRPr>
            </a:lvl6pPr>
            <a:lvl7pPr marL="0" indent="0" algn="l">
              <a:buFont typeface="Arial" panose="020B0604020202020204" pitchFamily="34" charset="0"/>
              <a:buChar char="​"/>
              <a:defRPr sz="1050" b="1" i="0" u="none" strike="noStrike">
                <a:solidFill>
                  <a:schemeClr val="tx1">
                    <a:lumMod val="100000"/>
                  </a:schemeClr>
                </a:solidFill>
                <a:latin typeface="Arial" panose="020B0604020202020204" pitchFamily="34" charset="0"/>
              </a:defRPr>
            </a:lvl7pPr>
            <a:lvl8pPr marL="0" indent="0" algn="l">
              <a:defRPr sz="1050" b="0" i="0" u="none" strike="noStrike">
                <a:solidFill>
                  <a:schemeClr val="tx1">
                    <a:lumMod val="100000"/>
                  </a:schemeClr>
                </a:solidFill>
                <a:latin typeface="Arial" panose="020B0604020202020204" pitchFamily="34" charset="0"/>
              </a:defRPr>
            </a:lvl8pPr>
            <a:lvl9pPr marL="0" indent="0" algn="l">
              <a:defRPr sz="4950" b="0" i="0" u="none" strike="noStrike">
                <a:solidFill>
                  <a:schemeClr val="tx1">
                    <a:lumMod val="100000"/>
                  </a:schemeClr>
                </a:solidFill>
                <a:latin typeface="Arial" panose="020B0604020202020204" pitchFamily="34" charset="0"/>
              </a:defRPr>
            </a:lvl9pPr>
          </a:lstStyle>
          <a:p>
            <a:pPr lvl="0"/>
            <a:r>
              <a:rPr lang="da-DK" dirty="0"/>
              <a:t>Her kan du tilføje din tekst. Du kan slukke for bullets, hvis det er mere oplagt til dit indhold.</a:t>
            </a:r>
          </a:p>
          <a:p>
            <a:pPr lvl="8"/>
            <a:endParaRPr lang="da-DK" dirty="0"/>
          </a:p>
        </p:txBody>
      </p:sp>
      <p:sp>
        <p:nvSpPr>
          <p:cNvPr id="6" name="Pladsholder til slidenummer 5">
            <a:extLst>
              <a:ext uri="{FF2B5EF4-FFF2-40B4-BE49-F238E27FC236}">
                <a16:creationId xmlns:a16="http://schemas.microsoft.com/office/drawing/2014/main" id="{C8905E14-F182-474E-93A8-3FE816D40D9E}"/>
              </a:ext>
            </a:extLst>
          </p:cNvPr>
          <p:cNvSpPr>
            <a:spLocks noGrp="1"/>
          </p:cNvSpPr>
          <p:nvPr>
            <p:ph type="sldNum" sz="quarter" idx="12"/>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3" name="Date Placeholder 2">
            <a:extLst>
              <a:ext uri="{FF2B5EF4-FFF2-40B4-BE49-F238E27FC236}">
                <a16:creationId xmlns:a16="http://schemas.microsoft.com/office/drawing/2014/main" id="{6CBB3FBE-C4C8-45E7-B4CE-5CF4B992335D}"/>
              </a:ext>
            </a:extLst>
          </p:cNvPr>
          <p:cNvSpPr>
            <a:spLocks noGrp="1"/>
          </p:cNvSpPr>
          <p:nvPr>
            <p:ph type="dt" sz="half" idx="18"/>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BF0E942A-498B-4B10-9133-B49166FD458D}" type="datetime2">
              <a:rPr lang="da-DK" smtClean="0"/>
              <a:t>17. september 2025</a:t>
            </a:fld>
            <a:endParaRPr lang="da-DK" dirty="0"/>
          </a:p>
        </p:txBody>
      </p:sp>
      <p:sp>
        <p:nvSpPr>
          <p:cNvPr id="4" name="Footer Placeholder 3">
            <a:extLst>
              <a:ext uri="{FF2B5EF4-FFF2-40B4-BE49-F238E27FC236}">
                <a16:creationId xmlns:a16="http://schemas.microsoft.com/office/drawing/2014/main" id="{F028A3ED-379E-41E5-8BB7-6E48FA505413}"/>
              </a:ext>
            </a:extLst>
          </p:cNvPr>
          <p:cNvSpPr>
            <a:spLocks noGrp="1"/>
          </p:cNvSpPr>
          <p:nvPr>
            <p:ph type="ftr" sz="quarter" idx="19"/>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Tree>
    <p:extLst>
      <p:ext uri="{BB962C8B-B14F-4D97-AF65-F5344CB8AC3E}">
        <p14:creationId xmlns:p14="http://schemas.microsoft.com/office/powerpoint/2010/main" val="3852443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ire bokse_2">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4BAB0D0-C86C-4A11-5855-B4E8975443F1}"/>
              </a:ext>
            </a:extLst>
          </p:cNvPr>
          <p:cNvSpPr/>
          <p:nvPr userDrawn="1"/>
        </p:nvSpPr>
        <p:spPr bwMode="white">
          <a:xfrm>
            <a:off x="0" y="0"/>
            <a:ext cx="9144000" cy="5143500"/>
          </a:xfrm>
          <a:prstGeom prst="rect">
            <a:avLst/>
          </a:prstGeom>
          <a:solidFill>
            <a:srgbClr val="1E6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 name="Titel 1">
            <a:extLst>
              <a:ext uri="{FF2B5EF4-FFF2-40B4-BE49-F238E27FC236}">
                <a16:creationId xmlns:a16="http://schemas.microsoft.com/office/drawing/2014/main" id="{46E4B57B-A786-0D40-BE76-7BCC1CA0C47C}"/>
              </a:ext>
            </a:extLst>
          </p:cNvPr>
          <p:cNvSpPr>
            <a:spLocks noGrp="1"/>
          </p:cNvSpPr>
          <p:nvPr>
            <p:ph type="title" hasCustomPrompt="1"/>
          </p:nvPr>
        </p:nvSpPr>
        <p:spPr>
          <a:xfrm>
            <a:off x="417250" y="205979"/>
            <a:ext cx="8313603" cy="857250"/>
          </a:xfrm>
          <a:prstGeom prst="rect">
            <a:avLst/>
          </a:prstGeom>
          <a:effectLst/>
        </p:spPr>
        <p:txBody>
          <a:bodyPr vert="horz" wrap="square" anchor="b">
            <a:noAutofit/>
          </a:bodyPr>
          <a:lstStyle>
            <a:lvl1pPr algn="l">
              <a:defRPr sz="2400" b="0" i="0" u="none" strike="noStrike">
                <a:solidFill>
                  <a:schemeClr val="tx1"/>
                </a:solidFill>
                <a:latin typeface="Arial" panose="020B0604020202020204" pitchFamily="34" charset="0"/>
              </a:defRPr>
            </a:lvl1pPr>
          </a:lstStyle>
          <a:p>
            <a:r>
              <a:rPr lang="da-DK" dirty="0"/>
              <a:t>Skriv din overskrift her</a:t>
            </a:r>
          </a:p>
        </p:txBody>
      </p:sp>
      <p:sp>
        <p:nvSpPr>
          <p:cNvPr id="10" name="Text Placeholder 6">
            <a:extLst>
              <a:ext uri="{FF2B5EF4-FFF2-40B4-BE49-F238E27FC236}">
                <a16:creationId xmlns:a16="http://schemas.microsoft.com/office/drawing/2014/main" id="{5186FAFE-3E6D-4D97-9FDB-321309179BB1}"/>
              </a:ext>
            </a:extLst>
          </p:cNvPr>
          <p:cNvSpPr>
            <a:spLocks noGrp="1"/>
          </p:cNvSpPr>
          <p:nvPr>
            <p:ph type="body" sz="quarter" idx="20" hasCustomPrompt="1"/>
          </p:nvPr>
        </p:nvSpPr>
        <p:spPr>
          <a:xfrm>
            <a:off x="417251" y="1188504"/>
            <a:ext cx="1935425" cy="3219450"/>
          </a:xfrm>
          <a:noFill/>
          <a:effectLst/>
          <a:extLst>
            <a:ext uri="{909E8E84-426E-40DD-AFC4-6F175D3DCCD1}">
              <a14:hiddenFill xmlns:a14="http://schemas.microsoft.com/office/drawing/2010/main">
                <a:solidFill>
                  <a:schemeClr val="tx2"/>
                </a:solidFill>
              </a14:hiddenFill>
            </a:ext>
          </a:extLst>
        </p:spPr>
        <p:txBody>
          <a:bodyPr vert="horz" wrap="square" lIns="0" tIns="45720" rIns="91440" anchor="t">
            <a:normAutofit/>
          </a:bodyPr>
          <a:lstStyle>
            <a:lvl1pPr marL="307002" indent="-307002" algn="l">
              <a:defRPr sz="1500" b="0" i="0" u="none" strike="noStrike">
                <a:solidFill>
                  <a:schemeClr val="tx1"/>
                </a:solidFill>
                <a:latin typeface="Arial" panose="020B0604020202020204" pitchFamily="34" charset="0"/>
              </a:defRPr>
            </a:lvl1pPr>
            <a:lvl2pPr marL="665171" indent="-255836" algn="l">
              <a:defRPr sz="1500" b="0" i="0" u="none" strike="noStrike">
                <a:solidFill>
                  <a:schemeClr val="tx1"/>
                </a:solidFill>
                <a:latin typeface="Arial" panose="020B0604020202020204" pitchFamily="34" charset="0"/>
              </a:defRPr>
            </a:lvl2pPr>
            <a:lvl3pPr marL="1023341" indent="-204668" algn="l">
              <a:defRPr sz="1500" b="0" i="0" u="none" strike="noStrike">
                <a:solidFill>
                  <a:schemeClr val="tx1"/>
                </a:solidFill>
                <a:latin typeface="Arial" panose="020B0604020202020204" pitchFamily="34" charset="0"/>
              </a:defRPr>
            </a:lvl3pPr>
            <a:lvl4pPr marL="33338" indent="-33338" algn="l">
              <a:defRPr sz="1500" b="1" i="0" u="none" strike="noStrike">
                <a:solidFill>
                  <a:schemeClr val="tx1"/>
                </a:solidFill>
                <a:latin typeface="Arial" panose="020B0604020202020204" pitchFamily="34" charset="0"/>
              </a:defRPr>
            </a:lvl4pPr>
            <a:lvl5pPr marL="33338" indent="-33338" algn="l">
              <a:defRPr sz="1500" b="0" i="0" u="none" strike="noStrike">
                <a:solidFill>
                  <a:schemeClr val="tx1"/>
                </a:solidFill>
                <a:latin typeface="Arial" panose="020B0604020202020204" pitchFamily="34" charset="0"/>
              </a:defRPr>
            </a:lvl5pPr>
            <a:lvl6pPr marL="0" indent="9525" algn="l">
              <a:defRPr sz="1050" b="0" i="0" u="none" strike="noStrike">
                <a:solidFill>
                  <a:schemeClr val="tx1"/>
                </a:solidFill>
                <a:latin typeface="Arial" panose="020B0604020202020204" pitchFamily="34" charset="0"/>
              </a:defRPr>
            </a:lvl6pPr>
            <a:lvl7pPr marL="0" indent="9525" algn="l">
              <a:defRPr sz="1050" b="1" i="0" u="none" strike="noStrike">
                <a:solidFill>
                  <a:schemeClr val="tx1"/>
                </a:solidFill>
                <a:latin typeface="Arial" panose="020B0604020202020204" pitchFamily="34" charset="0"/>
              </a:defRPr>
            </a:lvl7pPr>
            <a:lvl8pPr marL="0" indent="9525" algn="l">
              <a:defRPr sz="1050" b="0" i="0" u="none" strike="noStrike">
                <a:solidFill>
                  <a:schemeClr val="tx1"/>
                </a:solidFill>
                <a:latin typeface="Arial" panose="020B0604020202020204" pitchFamily="34" charset="0"/>
              </a:defRPr>
            </a:lvl8pPr>
            <a:lvl9pPr marL="0" indent="9525" algn="l">
              <a:defRPr sz="4950" b="0" i="0" u="none" strike="noStrike">
                <a:solidFill>
                  <a:schemeClr val="tx1"/>
                </a:solidFill>
                <a:latin typeface="Arial" panose="020B0604020202020204" pitchFamily="34" charset="0"/>
              </a:defRPr>
            </a:lvl9pPr>
          </a:lstStyle>
          <a:p>
            <a:pPr lvl="0"/>
            <a:r>
              <a:rPr lang="da-DK" dirty="0"/>
              <a:t>Her kan du tilføje din tekst. Du kanslukke for bullets, hvis det er mere oplagt til ditindhold.</a:t>
            </a:r>
          </a:p>
          <a:p>
            <a:pPr lvl="8"/>
            <a:endParaRPr lang="da-DK" dirty="0"/>
          </a:p>
        </p:txBody>
      </p:sp>
      <p:sp>
        <p:nvSpPr>
          <p:cNvPr id="12" name="Text Placeholder 6">
            <a:extLst>
              <a:ext uri="{FF2B5EF4-FFF2-40B4-BE49-F238E27FC236}">
                <a16:creationId xmlns:a16="http://schemas.microsoft.com/office/drawing/2014/main" id="{8111CA7F-A068-4746-88FD-4A7058B61633}"/>
              </a:ext>
            </a:extLst>
          </p:cNvPr>
          <p:cNvSpPr>
            <a:spLocks noGrp="1"/>
          </p:cNvSpPr>
          <p:nvPr>
            <p:ph type="body" sz="quarter" idx="21" hasCustomPrompt="1"/>
          </p:nvPr>
        </p:nvSpPr>
        <p:spPr>
          <a:xfrm>
            <a:off x="2541943" y="1194197"/>
            <a:ext cx="1935425" cy="3219450"/>
          </a:xfrm>
          <a:noFill/>
          <a:effectLst/>
          <a:extLst>
            <a:ext uri="{909E8E84-426E-40DD-AFC4-6F175D3DCCD1}">
              <a14:hiddenFill xmlns:a14="http://schemas.microsoft.com/office/drawing/2010/main">
                <a:solidFill>
                  <a:schemeClr val="tx2"/>
                </a:solidFill>
              </a14:hiddenFill>
            </a:ext>
          </a:extLst>
        </p:spPr>
        <p:txBody>
          <a:bodyPr vert="horz" wrap="square" lIns="0" tIns="45720" rIns="91440" anchor="t">
            <a:normAutofit/>
          </a:bodyPr>
          <a:lstStyle>
            <a:lvl1pPr marL="307002" indent="-307002" algn="l">
              <a:defRPr sz="1500" b="0" i="0" u="none" strike="noStrike">
                <a:solidFill>
                  <a:schemeClr val="tx1"/>
                </a:solidFill>
                <a:latin typeface="Arial" panose="020B0604020202020204" pitchFamily="34" charset="0"/>
              </a:defRPr>
            </a:lvl1pPr>
            <a:lvl2pPr marL="665171" indent="-255836" algn="l">
              <a:defRPr sz="1500" b="0" i="0" u="none" strike="noStrike">
                <a:solidFill>
                  <a:schemeClr val="tx1"/>
                </a:solidFill>
                <a:latin typeface="Arial" panose="020B0604020202020204" pitchFamily="34" charset="0"/>
              </a:defRPr>
            </a:lvl2pPr>
            <a:lvl3pPr marL="1023341" indent="-204668" algn="l">
              <a:defRPr sz="1500" b="0" i="0" u="none" strike="noStrike">
                <a:solidFill>
                  <a:schemeClr val="tx1"/>
                </a:solidFill>
                <a:latin typeface="Arial" panose="020B0604020202020204" pitchFamily="34" charset="0"/>
              </a:defRPr>
            </a:lvl3pPr>
            <a:lvl4pPr marL="0" indent="9525" algn="l">
              <a:defRPr sz="1500" b="1" i="0" u="none" strike="noStrike">
                <a:solidFill>
                  <a:schemeClr val="tx1"/>
                </a:solidFill>
                <a:latin typeface="Arial" panose="020B0604020202020204" pitchFamily="34" charset="0"/>
              </a:defRPr>
            </a:lvl4pPr>
            <a:lvl5pPr marL="0" indent="9525" algn="l">
              <a:defRPr sz="1500" b="0" i="0" u="none" strike="noStrike">
                <a:solidFill>
                  <a:schemeClr val="tx1"/>
                </a:solidFill>
                <a:latin typeface="Arial" panose="020B0604020202020204" pitchFamily="34" charset="0"/>
              </a:defRPr>
            </a:lvl5pPr>
            <a:lvl6pPr marL="0" indent="9525" algn="l">
              <a:defRPr sz="1050" b="0" i="0" u="none" strike="noStrike">
                <a:solidFill>
                  <a:schemeClr val="tx1"/>
                </a:solidFill>
                <a:latin typeface="Arial" panose="020B0604020202020204" pitchFamily="34" charset="0"/>
              </a:defRPr>
            </a:lvl6pPr>
            <a:lvl7pPr marL="0" indent="9525" algn="l">
              <a:defRPr sz="1050" b="1" i="0" u="none" strike="noStrike">
                <a:solidFill>
                  <a:schemeClr val="tx1"/>
                </a:solidFill>
                <a:latin typeface="Arial" panose="020B0604020202020204" pitchFamily="34" charset="0"/>
              </a:defRPr>
            </a:lvl7pPr>
            <a:lvl8pPr marL="0" indent="9525" algn="l">
              <a:defRPr sz="1050" b="0" i="0" u="none" strike="noStrike">
                <a:solidFill>
                  <a:schemeClr val="tx1"/>
                </a:solidFill>
                <a:latin typeface="Arial" panose="020B0604020202020204" pitchFamily="34" charset="0"/>
              </a:defRPr>
            </a:lvl8pPr>
            <a:lvl9pPr marL="0" indent="9525" algn="l">
              <a:defRPr sz="4950" b="0" i="0" u="none" strike="noStrike">
                <a:solidFill>
                  <a:schemeClr val="tx1"/>
                </a:solidFill>
                <a:latin typeface="Arial" panose="020B0604020202020204" pitchFamily="34" charset="0"/>
              </a:defRPr>
            </a:lvl9pPr>
          </a:lstStyle>
          <a:p>
            <a:pPr lvl="0"/>
            <a:r>
              <a:rPr lang="da-DK" dirty="0"/>
              <a:t>Her kan du tilføje din tekst. Du kanslukke for bullets, hvis det er mere oplagt til ditindhold.</a:t>
            </a:r>
          </a:p>
          <a:p>
            <a:pPr lvl="8"/>
            <a:endParaRPr lang="da-DK" dirty="0"/>
          </a:p>
        </p:txBody>
      </p:sp>
      <p:sp>
        <p:nvSpPr>
          <p:cNvPr id="13" name="Text Placeholder 6">
            <a:extLst>
              <a:ext uri="{FF2B5EF4-FFF2-40B4-BE49-F238E27FC236}">
                <a16:creationId xmlns:a16="http://schemas.microsoft.com/office/drawing/2014/main" id="{25FE1FD7-3F09-48AD-97F0-3B15BC0FA317}"/>
              </a:ext>
            </a:extLst>
          </p:cNvPr>
          <p:cNvSpPr>
            <a:spLocks noGrp="1"/>
          </p:cNvSpPr>
          <p:nvPr>
            <p:ph type="body" sz="quarter" idx="22" hasCustomPrompt="1"/>
          </p:nvPr>
        </p:nvSpPr>
        <p:spPr>
          <a:xfrm>
            <a:off x="4666634" y="1194197"/>
            <a:ext cx="1935425" cy="3219450"/>
          </a:xfrm>
          <a:noFill/>
          <a:effectLst/>
          <a:extLst>
            <a:ext uri="{909E8E84-426E-40DD-AFC4-6F175D3DCCD1}">
              <a14:hiddenFill xmlns:a14="http://schemas.microsoft.com/office/drawing/2010/main">
                <a:solidFill>
                  <a:schemeClr val="tx2"/>
                </a:solidFill>
              </a14:hiddenFill>
            </a:ext>
          </a:extLst>
        </p:spPr>
        <p:txBody>
          <a:bodyPr vert="horz" wrap="square" lIns="0" tIns="45720" rIns="91440" anchor="t">
            <a:normAutofit/>
          </a:bodyPr>
          <a:lstStyle>
            <a:lvl1pPr marL="307002" indent="-307002" algn="l">
              <a:defRPr sz="1500" b="0" i="0" u="none" strike="noStrike">
                <a:solidFill>
                  <a:schemeClr val="tx1"/>
                </a:solidFill>
                <a:latin typeface="Arial" panose="020B0604020202020204" pitchFamily="34" charset="0"/>
              </a:defRPr>
            </a:lvl1pPr>
            <a:lvl2pPr marL="665171" indent="-255836" algn="l">
              <a:defRPr sz="1500" b="0" i="0" u="none" strike="noStrike">
                <a:solidFill>
                  <a:schemeClr val="tx1"/>
                </a:solidFill>
                <a:latin typeface="Arial" panose="020B0604020202020204" pitchFamily="34" charset="0"/>
              </a:defRPr>
            </a:lvl2pPr>
            <a:lvl3pPr marL="1023341" indent="-204668" algn="l">
              <a:defRPr sz="1500" b="0" i="0" u="none" strike="noStrike">
                <a:solidFill>
                  <a:schemeClr val="tx1"/>
                </a:solidFill>
                <a:latin typeface="Arial" panose="020B0604020202020204" pitchFamily="34" charset="0"/>
              </a:defRPr>
            </a:lvl3pPr>
            <a:lvl4pPr marL="0" indent="9525" algn="l">
              <a:defRPr sz="1500" b="1" i="0" u="none" strike="noStrike">
                <a:solidFill>
                  <a:schemeClr val="tx1"/>
                </a:solidFill>
                <a:latin typeface="Arial" panose="020B0604020202020204" pitchFamily="34" charset="0"/>
              </a:defRPr>
            </a:lvl4pPr>
            <a:lvl5pPr marL="0" indent="9525" algn="l">
              <a:defRPr sz="1500" b="0" i="0" u="none" strike="noStrike">
                <a:solidFill>
                  <a:schemeClr val="tx1"/>
                </a:solidFill>
                <a:latin typeface="Arial" panose="020B0604020202020204" pitchFamily="34" charset="0"/>
              </a:defRPr>
            </a:lvl5pPr>
            <a:lvl6pPr marL="0" indent="9525" algn="l">
              <a:defRPr sz="1050" b="0" i="0" u="none" strike="noStrike">
                <a:solidFill>
                  <a:schemeClr val="tx1"/>
                </a:solidFill>
                <a:latin typeface="Arial" panose="020B0604020202020204" pitchFamily="34" charset="0"/>
              </a:defRPr>
            </a:lvl6pPr>
            <a:lvl7pPr marL="0" indent="9525" algn="l">
              <a:defRPr sz="1050" b="1" i="0" u="none" strike="noStrike">
                <a:solidFill>
                  <a:schemeClr val="tx1"/>
                </a:solidFill>
                <a:latin typeface="Arial" panose="020B0604020202020204" pitchFamily="34" charset="0"/>
              </a:defRPr>
            </a:lvl7pPr>
            <a:lvl8pPr marL="0" indent="9525" algn="l">
              <a:defRPr sz="1050" b="0" i="0" u="none" strike="noStrike">
                <a:solidFill>
                  <a:schemeClr val="tx1"/>
                </a:solidFill>
                <a:latin typeface="Arial" panose="020B0604020202020204" pitchFamily="34" charset="0"/>
              </a:defRPr>
            </a:lvl8pPr>
            <a:lvl9pPr marL="0" indent="9525" algn="l">
              <a:defRPr sz="4950" b="0" i="0" u="none" strike="noStrike">
                <a:solidFill>
                  <a:schemeClr val="tx1"/>
                </a:solidFill>
                <a:latin typeface="Arial" panose="020B0604020202020204" pitchFamily="34" charset="0"/>
              </a:defRPr>
            </a:lvl9pPr>
          </a:lstStyle>
          <a:p>
            <a:pPr lvl="0"/>
            <a:r>
              <a:rPr lang="da-DK" dirty="0"/>
              <a:t>Her kan du tilføje din tekst. Du kanslukke for bullets, hvis det er mere oplagt til ditindhold.</a:t>
            </a:r>
          </a:p>
          <a:p>
            <a:pPr lvl="8"/>
            <a:endParaRPr lang="da-DK" dirty="0"/>
          </a:p>
        </p:txBody>
      </p:sp>
      <p:sp>
        <p:nvSpPr>
          <p:cNvPr id="14" name="Text Placeholder 6">
            <a:extLst>
              <a:ext uri="{FF2B5EF4-FFF2-40B4-BE49-F238E27FC236}">
                <a16:creationId xmlns:a16="http://schemas.microsoft.com/office/drawing/2014/main" id="{74482849-EAA2-4610-8FBC-8AB72070DB15}"/>
              </a:ext>
            </a:extLst>
          </p:cNvPr>
          <p:cNvSpPr>
            <a:spLocks noGrp="1"/>
          </p:cNvSpPr>
          <p:nvPr>
            <p:ph type="body" sz="quarter" idx="23" hasCustomPrompt="1"/>
          </p:nvPr>
        </p:nvSpPr>
        <p:spPr>
          <a:xfrm>
            <a:off x="6791325" y="1194197"/>
            <a:ext cx="1935425" cy="3219450"/>
          </a:xfrm>
          <a:noFill/>
          <a:effectLst/>
          <a:extLst>
            <a:ext uri="{909E8E84-426E-40DD-AFC4-6F175D3DCCD1}">
              <a14:hiddenFill xmlns:a14="http://schemas.microsoft.com/office/drawing/2010/main">
                <a:solidFill>
                  <a:schemeClr val="tx2"/>
                </a:solidFill>
              </a14:hiddenFill>
            </a:ext>
          </a:extLst>
        </p:spPr>
        <p:txBody>
          <a:bodyPr vert="horz" wrap="square" lIns="0" tIns="45720" rIns="91440" anchor="t">
            <a:normAutofit/>
          </a:bodyPr>
          <a:lstStyle>
            <a:lvl1pPr marL="307002" indent="-307002" algn="l">
              <a:defRPr sz="1500" b="0" i="0" u="none" strike="noStrike">
                <a:solidFill>
                  <a:schemeClr val="tx1"/>
                </a:solidFill>
                <a:latin typeface="Arial" panose="020B0604020202020204" pitchFamily="34" charset="0"/>
              </a:defRPr>
            </a:lvl1pPr>
            <a:lvl2pPr marL="665171" indent="-255836" algn="l">
              <a:defRPr sz="1500" b="0" i="0" u="none" strike="noStrike">
                <a:solidFill>
                  <a:schemeClr val="tx1"/>
                </a:solidFill>
                <a:latin typeface="Arial" panose="020B0604020202020204" pitchFamily="34" charset="0"/>
              </a:defRPr>
            </a:lvl2pPr>
            <a:lvl3pPr marL="1023341" indent="-204668" algn="l">
              <a:defRPr sz="1500" b="0" i="0" u="none" strike="noStrike">
                <a:solidFill>
                  <a:schemeClr val="tx1"/>
                </a:solidFill>
                <a:latin typeface="Arial" panose="020B0604020202020204" pitchFamily="34" charset="0"/>
              </a:defRPr>
            </a:lvl3pPr>
            <a:lvl4pPr marL="0" indent="26194" algn="l">
              <a:defRPr sz="1500" b="1" i="0" u="none" strike="noStrike">
                <a:solidFill>
                  <a:schemeClr val="tx1"/>
                </a:solidFill>
                <a:latin typeface="Arial" panose="020B0604020202020204" pitchFamily="34" charset="0"/>
              </a:defRPr>
            </a:lvl4pPr>
            <a:lvl5pPr marL="0" indent="26194" algn="l">
              <a:defRPr sz="1500" b="0" i="0" u="none" strike="noStrike">
                <a:solidFill>
                  <a:schemeClr val="tx1"/>
                </a:solidFill>
                <a:latin typeface="Arial" panose="020B0604020202020204" pitchFamily="34" charset="0"/>
              </a:defRPr>
            </a:lvl5pPr>
            <a:lvl6pPr marL="0" indent="26194" algn="l">
              <a:defRPr sz="1050" b="0" i="0" u="none" strike="noStrike">
                <a:solidFill>
                  <a:schemeClr val="tx1"/>
                </a:solidFill>
                <a:latin typeface="Arial" panose="020B0604020202020204" pitchFamily="34" charset="0"/>
              </a:defRPr>
            </a:lvl6pPr>
            <a:lvl7pPr marL="0" indent="0" algn="l">
              <a:buFont typeface="Arial" panose="020B0604020202020204" pitchFamily="34" charset="0"/>
              <a:buChar char="​"/>
              <a:defRPr sz="1050" b="1" i="0" u="none" strike="noStrike">
                <a:solidFill>
                  <a:schemeClr val="tx1"/>
                </a:solidFill>
                <a:latin typeface="Arial" panose="020B0604020202020204" pitchFamily="34" charset="0"/>
              </a:defRPr>
            </a:lvl7pPr>
            <a:lvl8pPr marL="0" indent="0" algn="l">
              <a:defRPr sz="1050" b="0" i="0" u="none" strike="noStrike">
                <a:solidFill>
                  <a:schemeClr val="tx1"/>
                </a:solidFill>
                <a:latin typeface="Arial" panose="020B0604020202020204" pitchFamily="34" charset="0"/>
              </a:defRPr>
            </a:lvl8pPr>
            <a:lvl9pPr marL="0" indent="0" algn="l">
              <a:defRPr sz="4950" b="0" i="0" u="none" strike="noStrike">
                <a:solidFill>
                  <a:schemeClr val="tx1"/>
                </a:solidFill>
                <a:latin typeface="Arial" panose="020B0604020202020204" pitchFamily="34" charset="0"/>
              </a:defRPr>
            </a:lvl9pPr>
          </a:lstStyle>
          <a:p>
            <a:pPr lvl="0"/>
            <a:r>
              <a:rPr lang="da-DK" dirty="0"/>
              <a:t>Her kan du tilføje din tekst. Du kanslukke for bullets, hvis det er mere oplagt til ditindhold.</a:t>
            </a:r>
          </a:p>
          <a:p>
            <a:pPr lvl="8"/>
            <a:endParaRPr lang="da-DK" dirty="0"/>
          </a:p>
        </p:txBody>
      </p:sp>
      <p:sp>
        <p:nvSpPr>
          <p:cNvPr id="6" name="Pladsholder til slidenummer 5">
            <a:extLst>
              <a:ext uri="{FF2B5EF4-FFF2-40B4-BE49-F238E27FC236}">
                <a16:creationId xmlns:a16="http://schemas.microsoft.com/office/drawing/2014/main" id="{C8905E14-F182-474E-93A8-3FE816D40D9E}"/>
              </a:ext>
            </a:extLst>
          </p:cNvPr>
          <p:cNvSpPr>
            <a:spLocks noGrp="1"/>
          </p:cNvSpPr>
          <p:nvPr>
            <p:ph type="sldNum" sz="quarter" idx="12"/>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3" name="Date Placeholder 2">
            <a:extLst>
              <a:ext uri="{FF2B5EF4-FFF2-40B4-BE49-F238E27FC236}">
                <a16:creationId xmlns:a16="http://schemas.microsoft.com/office/drawing/2014/main" id="{6CBB3FBE-C4C8-45E7-B4CE-5CF4B992335D}"/>
              </a:ext>
            </a:extLst>
          </p:cNvPr>
          <p:cNvSpPr>
            <a:spLocks noGrp="1"/>
          </p:cNvSpPr>
          <p:nvPr>
            <p:ph type="dt" sz="half" idx="18"/>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270124E-4D39-4BD0-8F83-AE9FB1063C8F}" type="datetime2">
              <a:rPr lang="da-DK" smtClean="0"/>
              <a:t>17. september 2025</a:t>
            </a:fld>
            <a:endParaRPr lang="da-DK" dirty="0"/>
          </a:p>
        </p:txBody>
      </p:sp>
      <p:sp>
        <p:nvSpPr>
          <p:cNvPr id="4" name="Footer Placeholder 3">
            <a:extLst>
              <a:ext uri="{FF2B5EF4-FFF2-40B4-BE49-F238E27FC236}">
                <a16:creationId xmlns:a16="http://schemas.microsoft.com/office/drawing/2014/main" id="{F028A3ED-379E-41E5-8BB7-6E48FA505413}"/>
              </a:ext>
            </a:extLst>
          </p:cNvPr>
          <p:cNvSpPr>
            <a:spLocks noGrp="1"/>
          </p:cNvSpPr>
          <p:nvPr>
            <p:ph type="ftr" sz="quarter" idx="19"/>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Tree>
    <p:extLst>
      <p:ext uri="{BB962C8B-B14F-4D97-AF65-F5344CB8AC3E}">
        <p14:creationId xmlns:p14="http://schemas.microsoft.com/office/powerpoint/2010/main" val="1340695741"/>
      </p:ext>
    </p:extLst>
  </p:cSld>
  <p:clrMapOvr>
    <a:overrideClrMapping bg1="dk1" tx1="lt1" bg2="dk2" tx2="lt2" accent1="l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D7F62-6324-4937-939F-C99783064CA3}"/>
              </a:ext>
            </a:extLst>
          </p:cNvPr>
          <p:cNvSpPr>
            <a:spLocks noGrp="1"/>
          </p:cNvSpPr>
          <p:nvPr>
            <p:ph type="title" hasCustomPrompt="1"/>
          </p:nvPr>
        </p:nvSpPr>
        <p:spPr>
          <a:xfrm>
            <a:off x="417251" y="205979"/>
            <a:ext cx="8313603" cy="857250"/>
          </a:xfrm>
          <a:effectLst/>
        </p:spPr>
        <p:txBody>
          <a:bodyPr vert="horz" wrap="square" anchor="b">
            <a:noAutofit/>
          </a:bodyPr>
          <a:lstStyle>
            <a:lvl1pPr algn="l">
              <a:defRPr sz="2400" b="0" i="0" u="none" strike="noStrike">
                <a:solidFill>
                  <a:schemeClr val="tx1">
                    <a:lumMod val="100000"/>
                  </a:schemeClr>
                </a:solidFill>
                <a:latin typeface="Arial" panose="020B0604020202020204" pitchFamily="34" charset="0"/>
              </a:defRPr>
            </a:lvl1pPr>
          </a:lstStyle>
          <a:p>
            <a:r>
              <a:rPr lang="da-DK" dirty="0"/>
              <a:t>Skriv en overskrift til din figur her (hvis din figur har brug for en hel side)</a:t>
            </a:r>
          </a:p>
        </p:txBody>
      </p:sp>
      <p:sp>
        <p:nvSpPr>
          <p:cNvPr id="7" name="Content Placeholder 6">
            <a:extLst>
              <a:ext uri="{FF2B5EF4-FFF2-40B4-BE49-F238E27FC236}">
                <a16:creationId xmlns:a16="http://schemas.microsoft.com/office/drawing/2014/main" id="{FFD474A3-AC8A-4032-B746-8731175CD91D}"/>
              </a:ext>
            </a:extLst>
          </p:cNvPr>
          <p:cNvSpPr>
            <a:spLocks noGrp="1"/>
          </p:cNvSpPr>
          <p:nvPr>
            <p:ph sz="quarter" idx="13" hasCustomPrompt="1"/>
          </p:nvPr>
        </p:nvSpPr>
        <p:spPr>
          <a:xfrm>
            <a:off x="417250" y="1188243"/>
            <a:ext cx="8309499" cy="3219451"/>
          </a:xfrm>
          <a:effectLst/>
        </p:spPr>
        <p:txBody>
          <a:bodyPr vert="horz" wrap="square" anchor="t">
            <a:normAutofit/>
          </a:bodyPr>
          <a:lstStyle>
            <a:lvl1pPr marL="0" indent="0" algn="l">
              <a:lnSpc>
                <a:spcPct val="100000"/>
              </a:lnSpc>
              <a:buNone/>
              <a:defRPr sz="1500" b="0" i="0" u="none" strike="noStrike">
                <a:solidFill>
                  <a:schemeClr val="tx1">
                    <a:lumMod val="100000"/>
                  </a:schemeClr>
                </a:solidFill>
                <a:latin typeface="Arial" panose="020B0604020202020204" pitchFamily="34" charset="0"/>
              </a:defRPr>
            </a:lvl1pPr>
            <a:lvl2pPr algn="l">
              <a:defRPr sz="1500" b="0" i="0" u="none" strike="noStrike">
                <a:solidFill>
                  <a:schemeClr val="tx1">
                    <a:lumMod val="100000"/>
                  </a:schemeClr>
                </a:solidFill>
                <a:latin typeface="Arial" panose="020B0604020202020204" pitchFamily="34" charset="0"/>
              </a:defRPr>
            </a:lvl2pPr>
            <a:lvl3pPr algn="l">
              <a:defRPr sz="1500" b="0" i="0" u="none" strike="noStrike">
                <a:solidFill>
                  <a:schemeClr val="tx1">
                    <a:lumMod val="100000"/>
                  </a:schemeClr>
                </a:solidFill>
                <a:latin typeface="Arial" panose="020B0604020202020204" pitchFamily="34" charset="0"/>
              </a:defRPr>
            </a:lvl3pPr>
            <a:lvl4pPr algn="l">
              <a:defRPr sz="1500" b="1" i="0" u="none" strike="noStrike">
                <a:solidFill>
                  <a:schemeClr val="tx1">
                    <a:lumMod val="100000"/>
                  </a:schemeClr>
                </a:solidFill>
                <a:latin typeface="Arial" panose="020B0604020202020204" pitchFamily="34" charset="0"/>
              </a:defRPr>
            </a:lvl4pPr>
            <a:lvl5pPr algn="l">
              <a:defRPr sz="1500" b="0" i="0" u="none" strike="noStrike">
                <a:solidFill>
                  <a:schemeClr val="tx1">
                    <a:lumMod val="100000"/>
                  </a:schemeClr>
                </a:solidFill>
                <a:latin typeface="Arial" panose="020B0604020202020204" pitchFamily="34" charset="0"/>
              </a:defRPr>
            </a:lvl5pPr>
          </a:lstStyle>
          <a:p>
            <a:pPr marL="216000" marR="0" lvl="0" indent="-2160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da-DK" dirty="0"/>
              <a:t>Klik for at indsætte tabel, diagram eller SmartArt</a:t>
            </a:r>
          </a:p>
          <a:p>
            <a:pPr lvl="4"/>
            <a:endParaRPr lang="da-DK" dirty="0"/>
          </a:p>
        </p:txBody>
      </p:sp>
      <p:sp>
        <p:nvSpPr>
          <p:cNvPr id="3" name="Slide Number Placeholder 2">
            <a:extLst>
              <a:ext uri="{FF2B5EF4-FFF2-40B4-BE49-F238E27FC236}">
                <a16:creationId xmlns:a16="http://schemas.microsoft.com/office/drawing/2014/main" id="{61C20CAE-CCB8-4F11-AA22-A4268D6A70A9}"/>
              </a:ext>
            </a:extLst>
          </p:cNvPr>
          <p:cNvSpPr>
            <a:spLocks noGrp="1"/>
          </p:cNvSpPr>
          <p:nvPr>
            <p:ph type="sldNum" sz="quarter" idx="10"/>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4" name="Date Placeholder 3">
            <a:extLst>
              <a:ext uri="{FF2B5EF4-FFF2-40B4-BE49-F238E27FC236}">
                <a16:creationId xmlns:a16="http://schemas.microsoft.com/office/drawing/2014/main" id="{A25DAC7F-37CB-434F-96FD-0726B022DAEC}"/>
              </a:ext>
            </a:extLst>
          </p:cNvPr>
          <p:cNvSpPr>
            <a:spLocks noGrp="1"/>
          </p:cNvSpPr>
          <p:nvPr>
            <p:ph type="dt" sz="half" idx="11"/>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E89A4583-7981-448E-9E9E-1E2D51598F4E}" type="datetime2">
              <a:rPr lang="da-DK" smtClean="0"/>
              <a:t>17. september 2025</a:t>
            </a:fld>
            <a:endParaRPr lang="da-DK" dirty="0"/>
          </a:p>
        </p:txBody>
      </p:sp>
      <p:sp>
        <p:nvSpPr>
          <p:cNvPr id="5" name="Footer Placeholder 4">
            <a:extLst>
              <a:ext uri="{FF2B5EF4-FFF2-40B4-BE49-F238E27FC236}">
                <a16:creationId xmlns:a16="http://schemas.microsoft.com/office/drawing/2014/main" id="{BA42F2A9-15FA-4C78-A8E9-ABD9CD05B9E5}"/>
              </a:ext>
            </a:extLst>
          </p:cNvPr>
          <p:cNvSpPr>
            <a:spLocks noGrp="1"/>
          </p:cNvSpPr>
          <p:nvPr>
            <p:ph type="ftr" sz="quarter" idx="12"/>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Tree>
    <p:extLst>
      <p:ext uri="{BB962C8B-B14F-4D97-AF65-F5344CB8AC3E}">
        <p14:creationId xmlns:p14="http://schemas.microsoft.com/office/powerpoint/2010/main" val="386165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og indholdsobjekt_blå">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F9F5F4-A11C-8284-BBA7-D7B4B94318DD}"/>
              </a:ext>
            </a:extLst>
          </p:cNvPr>
          <p:cNvSpPr/>
          <p:nvPr userDrawn="1"/>
        </p:nvSpPr>
        <p:spPr bwMode="white">
          <a:xfrm>
            <a:off x="0" y="0"/>
            <a:ext cx="9144000" cy="5143500"/>
          </a:xfrm>
          <a:prstGeom prst="rect">
            <a:avLst/>
          </a:prstGeom>
          <a:solidFill>
            <a:srgbClr val="1E6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 name="Title 1">
            <a:extLst>
              <a:ext uri="{FF2B5EF4-FFF2-40B4-BE49-F238E27FC236}">
                <a16:creationId xmlns:a16="http://schemas.microsoft.com/office/drawing/2014/main" id="{2FAD7F62-6324-4937-939F-C99783064CA3}"/>
              </a:ext>
            </a:extLst>
          </p:cNvPr>
          <p:cNvSpPr>
            <a:spLocks noGrp="1"/>
          </p:cNvSpPr>
          <p:nvPr>
            <p:ph type="title" hasCustomPrompt="1"/>
          </p:nvPr>
        </p:nvSpPr>
        <p:spPr>
          <a:xfrm>
            <a:off x="417251" y="205979"/>
            <a:ext cx="8313603" cy="857250"/>
          </a:xfrm>
          <a:effectLst/>
        </p:spPr>
        <p:txBody>
          <a:bodyPr vert="horz" wrap="square" anchor="b">
            <a:noAutofit/>
          </a:bodyPr>
          <a:lstStyle>
            <a:lvl1pPr algn="l">
              <a:defRPr sz="2400" b="0" i="0" u="none" strike="noStrike">
                <a:solidFill>
                  <a:schemeClr val="tx1"/>
                </a:solidFill>
                <a:latin typeface="Arial" panose="020B0604020202020204" pitchFamily="34" charset="0"/>
              </a:defRPr>
            </a:lvl1pPr>
          </a:lstStyle>
          <a:p>
            <a:r>
              <a:rPr lang="da-DK" dirty="0"/>
              <a:t>Skrivenoverskrift til din figur her (hvis din figurharbrug for enhel side)</a:t>
            </a:r>
          </a:p>
        </p:txBody>
      </p:sp>
      <p:sp>
        <p:nvSpPr>
          <p:cNvPr id="7" name="Content Placeholder 6">
            <a:extLst>
              <a:ext uri="{FF2B5EF4-FFF2-40B4-BE49-F238E27FC236}">
                <a16:creationId xmlns:a16="http://schemas.microsoft.com/office/drawing/2014/main" id="{FFD474A3-AC8A-4032-B746-8731175CD91D}"/>
              </a:ext>
            </a:extLst>
          </p:cNvPr>
          <p:cNvSpPr>
            <a:spLocks noGrp="1"/>
          </p:cNvSpPr>
          <p:nvPr>
            <p:ph sz="quarter" idx="13" hasCustomPrompt="1"/>
          </p:nvPr>
        </p:nvSpPr>
        <p:spPr>
          <a:xfrm>
            <a:off x="417250" y="1188243"/>
            <a:ext cx="8309499" cy="3219451"/>
          </a:xfrm>
          <a:effectLst/>
        </p:spPr>
        <p:txBody>
          <a:bodyPr vert="horz" wrap="square" anchor="t">
            <a:normAutofit/>
          </a:bodyPr>
          <a:lstStyle>
            <a:lvl1pPr marL="0" indent="0" algn="l">
              <a:lnSpc>
                <a:spcPct val="100000"/>
              </a:lnSpc>
              <a:buNone/>
              <a:defRPr sz="1500" b="0" i="0" u="none" strike="noStrike">
                <a:solidFill>
                  <a:schemeClr val="tx1"/>
                </a:solidFill>
                <a:latin typeface="Arial" panose="020B0604020202020204" pitchFamily="34" charset="0"/>
              </a:defRPr>
            </a:lvl1pPr>
            <a:lvl2pPr algn="l">
              <a:defRPr sz="1500" b="0" i="0" u="none" strike="noStrike">
                <a:solidFill>
                  <a:schemeClr val="tx1"/>
                </a:solidFill>
                <a:latin typeface="Arial" panose="020B0604020202020204" pitchFamily="34" charset="0"/>
              </a:defRPr>
            </a:lvl2pPr>
            <a:lvl3pPr algn="l">
              <a:defRPr sz="1500" b="0" i="0" u="none" strike="noStrike">
                <a:solidFill>
                  <a:schemeClr val="tx1"/>
                </a:solidFill>
                <a:latin typeface="Arial" panose="020B0604020202020204" pitchFamily="34" charset="0"/>
              </a:defRPr>
            </a:lvl3pPr>
            <a:lvl4pPr algn="l">
              <a:defRPr sz="1500" b="1" i="0" u="none" strike="noStrike">
                <a:solidFill>
                  <a:schemeClr val="tx1"/>
                </a:solidFill>
                <a:latin typeface="Arial" panose="020B0604020202020204" pitchFamily="34" charset="0"/>
              </a:defRPr>
            </a:lvl4pPr>
            <a:lvl5pPr algn="l">
              <a:defRPr sz="1500" b="0" i="0" u="none" strike="noStrike">
                <a:solidFill>
                  <a:schemeClr val="tx1"/>
                </a:solidFill>
                <a:latin typeface="Arial" panose="020B0604020202020204" pitchFamily="34"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216000" marR="0" lvl="0" indent="-2160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da-DK" dirty="0"/>
              <a:t>Klik for at indsættetabel, diagram eller SmartArt</a:t>
            </a:r>
          </a:p>
          <a:p>
            <a:pPr lvl="8"/>
            <a:endParaRPr lang="da-DK" dirty="0"/>
          </a:p>
        </p:txBody>
      </p:sp>
      <p:sp>
        <p:nvSpPr>
          <p:cNvPr id="3" name="Slide Number Placeholder 2">
            <a:extLst>
              <a:ext uri="{FF2B5EF4-FFF2-40B4-BE49-F238E27FC236}">
                <a16:creationId xmlns:a16="http://schemas.microsoft.com/office/drawing/2014/main" id="{61C20CAE-CCB8-4F11-AA22-A4268D6A70A9}"/>
              </a:ext>
            </a:extLst>
          </p:cNvPr>
          <p:cNvSpPr>
            <a:spLocks noGrp="1"/>
          </p:cNvSpPr>
          <p:nvPr>
            <p:ph type="sldNum" sz="quarter" idx="10"/>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4" name="Date Placeholder 3">
            <a:extLst>
              <a:ext uri="{FF2B5EF4-FFF2-40B4-BE49-F238E27FC236}">
                <a16:creationId xmlns:a16="http://schemas.microsoft.com/office/drawing/2014/main" id="{A25DAC7F-37CB-434F-96FD-0726B022DAEC}"/>
              </a:ext>
            </a:extLst>
          </p:cNvPr>
          <p:cNvSpPr>
            <a:spLocks noGrp="1"/>
          </p:cNvSpPr>
          <p:nvPr>
            <p:ph type="dt" sz="half" idx="11"/>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D7F9C96E-8075-4AE8-B2A8-CADE59E3D4FA}" type="datetime2">
              <a:rPr lang="da-DK" smtClean="0"/>
              <a:t>17. september 2025</a:t>
            </a:fld>
            <a:endParaRPr lang="da-DK" dirty="0"/>
          </a:p>
        </p:txBody>
      </p:sp>
      <p:sp>
        <p:nvSpPr>
          <p:cNvPr id="5" name="Footer Placeholder 4">
            <a:extLst>
              <a:ext uri="{FF2B5EF4-FFF2-40B4-BE49-F238E27FC236}">
                <a16:creationId xmlns:a16="http://schemas.microsoft.com/office/drawing/2014/main" id="{BA42F2A9-15FA-4C78-A8E9-ABD9CD05B9E5}"/>
              </a:ext>
            </a:extLst>
          </p:cNvPr>
          <p:cNvSpPr>
            <a:spLocks noGrp="1"/>
          </p:cNvSpPr>
          <p:nvPr>
            <p:ph type="ftr" sz="quarter" idx="12"/>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Tree>
    <p:extLst>
      <p:ext uri="{BB962C8B-B14F-4D97-AF65-F5344CB8AC3E}">
        <p14:creationId xmlns:p14="http://schemas.microsoft.com/office/powerpoint/2010/main" val="1420726903"/>
      </p:ext>
    </p:extLst>
  </p:cSld>
  <p:clrMapOvr>
    <a:overrideClrMapping bg1="dk1" tx1="lt1" bg2="dk2" tx2="lt2" accent1="l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kst og indho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A0464482-1B6E-DD4F-98B3-697871D66AC5}"/>
              </a:ext>
            </a:extLst>
          </p:cNvPr>
          <p:cNvSpPr>
            <a:spLocks noGrp="1"/>
          </p:cNvSpPr>
          <p:nvPr>
            <p:ph type="title" hasCustomPrompt="1"/>
          </p:nvPr>
        </p:nvSpPr>
        <p:spPr>
          <a:xfrm>
            <a:off x="417250" y="206748"/>
            <a:ext cx="3844812" cy="856481"/>
          </a:xfrm>
          <a:prstGeom prst="rect">
            <a:avLst/>
          </a:prstGeom>
          <a:effectLst/>
        </p:spPr>
        <p:txBody>
          <a:bodyPr vert="horz" wrap="square" anchor="b">
            <a:noAutofit/>
          </a:bodyPr>
          <a:lstStyle>
            <a:lvl1pPr algn="l">
              <a:lnSpc>
                <a:spcPct val="100000"/>
              </a:lnSpc>
              <a:defRPr sz="2400" b="0" i="0" u="none" strike="noStrike">
                <a:solidFill>
                  <a:schemeClr val="tx1">
                    <a:lumMod val="100000"/>
                  </a:schemeClr>
                </a:solidFill>
                <a:latin typeface="Arial" panose="020B0604020202020204" pitchFamily="34" charset="0"/>
              </a:defRPr>
            </a:lvl1pPr>
          </a:lstStyle>
          <a:p>
            <a:r>
              <a:rPr lang="da-DK" dirty="0"/>
              <a:t>Her kan du skrive en overskrift til din figur</a:t>
            </a:r>
          </a:p>
        </p:txBody>
      </p:sp>
      <p:sp>
        <p:nvSpPr>
          <p:cNvPr id="5" name="Text Placeholder 3">
            <a:extLst>
              <a:ext uri="{FF2B5EF4-FFF2-40B4-BE49-F238E27FC236}">
                <a16:creationId xmlns:a16="http://schemas.microsoft.com/office/drawing/2014/main" id="{798903F7-BBB2-4DE5-B7D7-4999FF3F7328}"/>
              </a:ext>
            </a:extLst>
          </p:cNvPr>
          <p:cNvSpPr>
            <a:spLocks noGrp="1"/>
          </p:cNvSpPr>
          <p:nvPr>
            <p:ph type="body" sz="quarter" idx="19" hasCustomPrompt="1"/>
          </p:nvPr>
        </p:nvSpPr>
        <p:spPr>
          <a:xfrm>
            <a:off x="417251" y="1188245"/>
            <a:ext cx="3844812" cy="3219450"/>
          </a:xfrm>
          <a:effectLst/>
        </p:spPr>
        <p:txBody>
          <a:bodyPr vert="horz" wrap="square" anchor="t">
            <a:normAutofit/>
          </a:bodyPr>
          <a:lstStyle>
            <a:lvl1pPr algn="l">
              <a:defRPr sz="1500" b="0" i="0" u="none" strike="noStrike">
                <a:solidFill>
                  <a:schemeClr val="tx1">
                    <a:lumMod val="100000"/>
                  </a:schemeClr>
                </a:solidFill>
                <a:latin typeface="Arial" panose="020B0604020202020204" pitchFamily="34" charset="0"/>
              </a:defRPr>
            </a:lvl1pPr>
            <a:lvl2pPr algn="l">
              <a:defRPr sz="1500" b="0" i="0" u="none" strike="noStrike">
                <a:solidFill>
                  <a:schemeClr val="tx1">
                    <a:lumMod val="100000"/>
                  </a:schemeClr>
                </a:solidFill>
                <a:latin typeface="Arial" panose="020B0604020202020204" pitchFamily="34" charset="0"/>
              </a:defRPr>
            </a:lvl2pPr>
            <a:lvl3pPr algn="l">
              <a:defRPr sz="1500" b="0" i="0" u="none" strike="noStrike">
                <a:solidFill>
                  <a:schemeClr val="tx1">
                    <a:lumMod val="100000"/>
                  </a:schemeClr>
                </a:solidFill>
                <a:latin typeface="Arial" panose="020B0604020202020204" pitchFamily="34" charset="0"/>
              </a:defRPr>
            </a:lvl3pPr>
            <a:lvl4pPr algn="l">
              <a:defRPr sz="1500" b="1" i="0" u="none" strike="noStrike">
                <a:solidFill>
                  <a:schemeClr val="tx1">
                    <a:lumMod val="100000"/>
                  </a:schemeClr>
                </a:solidFill>
                <a:latin typeface="Arial" panose="020B0604020202020204" pitchFamily="34" charset="0"/>
              </a:defRPr>
            </a:lvl4pPr>
            <a:lvl5pPr algn="l">
              <a:defRPr sz="1500" b="0" i="0" u="none" strike="noStrike">
                <a:solidFill>
                  <a:schemeClr val="tx1">
                    <a:lumMod val="100000"/>
                  </a:schemeClr>
                </a:solidFill>
                <a:latin typeface="Arial" panose="020B0604020202020204" pitchFamily="34" charset="0"/>
              </a:defRPr>
            </a:lvl5pPr>
            <a:lvl6pPr algn="l">
              <a:defRPr sz="1050" b="0" i="0" u="none" strike="noStrike">
                <a:solidFill>
                  <a:schemeClr val="tx1">
                    <a:lumMod val="100000"/>
                  </a:schemeClr>
                </a:solidFill>
                <a:latin typeface="Arial" panose="020B0604020202020204" pitchFamily="34" charset="0"/>
              </a:defRPr>
            </a:lvl6pPr>
            <a:lvl7pPr algn="l">
              <a:defRPr sz="1050" b="1" i="0" u="none" strike="noStrike">
                <a:solidFill>
                  <a:schemeClr val="tx1">
                    <a:lumMod val="100000"/>
                  </a:schemeClr>
                </a:solidFill>
                <a:latin typeface="Arial" panose="020B0604020202020204" pitchFamily="34" charset="0"/>
              </a:defRPr>
            </a:lvl7pPr>
            <a:lvl8pPr algn="l">
              <a:defRPr sz="1050" b="0" i="0" u="none" strike="noStrike">
                <a:solidFill>
                  <a:schemeClr val="tx1">
                    <a:lumMod val="100000"/>
                  </a:schemeClr>
                </a:solidFill>
                <a:latin typeface="Arial" panose="020B0604020202020204" pitchFamily="34" charset="0"/>
              </a:defRPr>
            </a:lvl8pPr>
            <a:lvl9pPr algn="l">
              <a:defRPr sz="4950" b="0" i="0" u="none" strike="noStrike">
                <a:solidFill>
                  <a:schemeClr val="tx1">
                    <a:lumMod val="100000"/>
                  </a:schemeClr>
                </a:solidFill>
                <a:latin typeface="Arial" panose="020B0604020202020204" pitchFamily="34" charset="0"/>
              </a:defRPr>
            </a:lvl9pPr>
          </a:lstStyle>
          <a:p>
            <a:pPr lvl="0"/>
            <a:r>
              <a:rPr lang="da-DK" dirty="0"/>
              <a:t>Her skriver du understøttende tekst til din figur. Du kan slukke for bullets, hvis det er mere oplagt til dit indhold.</a:t>
            </a:r>
          </a:p>
          <a:p>
            <a:pPr lvl="8"/>
            <a:endParaRPr lang="da-DK" dirty="0"/>
          </a:p>
        </p:txBody>
      </p:sp>
      <p:sp>
        <p:nvSpPr>
          <p:cNvPr id="8" name="Content Placeholder 7">
            <a:extLst>
              <a:ext uri="{FF2B5EF4-FFF2-40B4-BE49-F238E27FC236}">
                <a16:creationId xmlns:a16="http://schemas.microsoft.com/office/drawing/2014/main" id="{CFEAC85F-0499-4D96-8E17-04ED86FF3E00}"/>
              </a:ext>
            </a:extLst>
          </p:cNvPr>
          <p:cNvSpPr>
            <a:spLocks noGrp="1"/>
          </p:cNvSpPr>
          <p:nvPr>
            <p:ph sz="quarter" idx="23" hasCustomPrompt="1"/>
          </p:nvPr>
        </p:nvSpPr>
        <p:spPr>
          <a:xfrm>
            <a:off x="4664869" y="-1"/>
            <a:ext cx="4479131" cy="5143500"/>
          </a:xfrm>
          <a:effectLst/>
        </p:spPr>
        <p:txBody>
          <a:bodyPr vert="horz" wrap="square" tIns="1440000" anchor="ctr" anchorCtr="0">
            <a:normAutofit/>
          </a:bodyPr>
          <a:lstStyle>
            <a:lvl1pPr marL="0" indent="0" algn="ctr">
              <a:buNone/>
              <a:defRPr sz="1400" b="0" i="0" u="none" strike="noStrike">
                <a:solidFill>
                  <a:schemeClr val="tx1">
                    <a:lumMod val="100000"/>
                  </a:schemeClr>
                </a:solidFill>
                <a:latin typeface="Arial" panose="020B0604020202020204" pitchFamily="34" charset="0"/>
              </a:defRPr>
            </a:lvl1pPr>
          </a:lstStyle>
          <a:p>
            <a:pPr lvl="0"/>
            <a:r>
              <a:rPr lang="da-DK" dirty="0"/>
              <a:t>Klik for at indsætte tabel, diagram eller SmartArt</a:t>
            </a:r>
          </a:p>
        </p:txBody>
      </p:sp>
      <p:sp>
        <p:nvSpPr>
          <p:cNvPr id="13" name="Date Placeholder 12">
            <a:extLst>
              <a:ext uri="{FF2B5EF4-FFF2-40B4-BE49-F238E27FC236}">
                <a16:creationId xmlns:a16="http://schemas.microsoft.com/office/drawing/2014/main" id="{EF54D3B5-2E41-49C3-AF27-E87710026B22}"/>
              </a:ext>
            </a:extLst>
          </p:cNvPr>
          <p:cNvSpPr>
            <a:spLocks noGrp="1"/>
          </p:cNvSpPr>
          <p:nvPr>
            <p:ph type="dt" sz="half" idx="24"/>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54E9C7C-116B-48A8-8330-E034934814B2}" type="datetime2">
              <a:rPr lang="da-DK" smtClean="0"/>
              <a:t>17. september 2025</a:t>
            </a:fld>
            <a:endParaRPr lang="da-DK" dirty="0"/>
          </a:p>
        </p:txBody>
      </p:sp>
      <p:sp>
        <p:nvSpPr>
          <p:cNvPr id="14" name="Footer Placeholder 13">
            <a:extLst>
              <a:ext uri="{FF2B5EF4-FFF2-40B4-BE49-F238E27FC236}">
                <a16:creationId xmlns:a16="http://schemas.microsoft.com/office/drawing/2014/main" id="{B4B25105-14EB-4DD1-9FF2-54E85C13ED20}"/>
              </a:ext>
            </a:extLst>
          </p:cNvPr>
          <p:cNvSpPr>
            <a:spLocks noGrp="1"/>
          </p:cNvSpPr>
          <p:nvPr>
            <p:ph type="ftr" sz="quarter" idx="25"/>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15" name="Slide Number Placeholder 14">
            <a:extLst>
              <a:ext uri="{FF2B5EF4-FFF2-40B4-BE49-F238E27FC236}">
                <a16:creationId xmlns:a16="http://schemas.microsoft.com/office/drawing/2014/main" id="{F10A3832-2F8A-4177-8F74-C8F4A33ED491}"/>
              </a:ext>
            </a:extLst>
          </p:cNvPr>
          <p:cNvSpPr>
            <a:spLocks noGrp="1"/>
          </p:cNvSpPr>
          <p:nvPr>
            <p:ph type="sldNum" sz="quarter" idx="26"/>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Tree>
    <p:extLst>
      <p:ext uri="{BB962C8B-B14F-4D97-AF65-F5344CB8AC3E}">
        <p14:creationId xmlns:p14="http://schemas.microsoft.com/office/powerpoint/2010/main" val="52074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kst og indhold_blå">
    <p:bg>
      <p:bgPr>
        <a:solidFill>
          <a:schemeClr val="bg1"/>
        </a:solidFill>
        <a:effectLst/>
      </p:bgPr>
    </p:bg>
    <p:spTree>
      <p:nvGrpSpPr>
        <p:cNvPr id="1" name=""/>
        <p:cNvGrpSpPr/>
        <p:nvPr/>
      </p:nvGrpSpPr>
      <p:grpSpPr>
        <a:xfrm>
          <a:off x="0" y="0"/>
          <a:ext cx="0" cy="0"/>
          <a:chOff x="0" y="0"/>
          <a:chExt cx="0" cy="0"/>
        </a:xfrm>
      </p:grpSpPr>
      <p:sp>
        <p:nvSpPr>
          <p:cNvPr id="2" name="Rektangel 5">
            <a:extLst>
              <a:ext uri="{FF2B5EF4-FFF2-40B4-BE49-F238E27FC236}">
                <a16:creationId xmlns:a16="http://schemas.microsoft.com/office/drawing/2014/main" id="{EBAF4869-BB85-616A-9EAD-3A859CB955CB}"/>
              </a:ext>
            </a:extLst>
          </p:cNvPr>
          <p:cNvSpPr/>
          <p:nvPr userDrawn="1"/>
        </p:nvSpPr>
        <p:spPr>
          <a:xfrm>
            <a:off x="4664869" y="0"/>
            <a:ext cx="4479131" cy="5143500"/>
          </a:xfrm>
          <a:prstGeom prst="rect">
            <a:avLst/>
          </a:prstGeom>
          <a:solidFill>
            <a:schemeClr val="accent1">
              <a:alpha val="4367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6" name="Titel 1">
            <a:extLst>
              <a:ext uri="{FF2B5EF4-FFF2-40B4-BE49-F238E27FC236}">
                <a16:creationId xmlns:a16="http://schemas.microsoft.com/office/drawing/2014/main" id="{A0464482-1B6E-DD4F-98B3-697871D66AC5}"/>
              </a:ext>
            </a:extLst>
          </p:cNvPr>
          <p:cNvSpPr>
            <a:spLocks noGrp="1"/>
          </p:cNvSpPr>
          <p:nvPr>
            <p:ph type="title" hasCustomPrompt="1"/>
          </p:nvPr>
        </p:nvSpPr>
        <p:spPr>
          <a:xfrm>
            <a:off x="417250" y="206748"/>
            <a:ext cx="3844812" cy="856481"/>
          </a:xfrm>
          <a:prstGeom prst="rect">
            <a:avLst/>
          </a:prstGeom>
          <a:effectLst/>
        </p:spPr>
        <p:txBody>
          <a:bodyPr vert="horz" wrap="square" anchor="b">
            <a:noAutofit/>
          </a:bodyPr>
          <a:lstStyle>
            <a:lvl1pPr algn="l">
              <a:lnSpc>
                <a:spcPct val="100000"/>
              </a:lnSpc>
              <a:defRPr sz="2400" b="0" i="0" u="none" strike="noStrike">
                <a:solidFill>
                  <a:schemeClr val="tx1"/>
                </a:solidFill>
                <a:latin typeface="Arial" panose="020B0604020202020204" pitchFamily="34" charset="0"/>
              </a:defRPr>
            </a:lvl1pPr>
          </a:lstStyle>
          <a:p>
            <a:r>
              <a:rPr lang="da-DK" dirty="0"/>
              <a:t>Her kan du skrive en overskrift til din figur</a:t>
            </a:r>
          </a:p>
        </p:txBody>
      </p:sp>
      <p:sp>
        <p:nvSpPr>
          <p:cNvPr id="5" name="Text Placeholder 3">
            <a:extLst>
              <a:ext uri="{FF2B5EF4-FFF2-40B4-BE49-F238E27FC236}">
                <a16:creationId xmlns:a16="http://schemas.microsoft.com/office/drawing/2014/main" id="{798903F7-BBB2-4DE5-B7D7-4999FF3F7328}"/>
              </a:ext>
            </a:extLst>
          </p:cNvPr>
          <p:cNvSpPr>
            <a:spLocks noGrp="1"/>
          </p:cNvSpPr>
          <p:nvPr>
            <p:ph type="body" sz="quarter" idx="19" hasCustomPrompt="1"/>
          </p:nvPr>
        </p:nvSpPr>
        <p:spPr>
          <a:xfrm>
            <a:off x="417251" y="1188245"/>
            <a:ext cx="3844812" cy="3219450"/>
          </a:xfrm>
          <a:effectLst/>
        </p:spPr>
        <p:txBody>
          <a:bodyPr vert="horz" wrap="square" anchor="t">
            <a:normAutofit/>
          </a:bodyPr>
          <a:lstStyle>
            <a:lvl1pPr algn="l">
              <a:defRPr sz="1500" b="0" i="0" u="none" strike="noStrike">
                <a:solidFill>
                  <a:schemeClr val="tx1"/>
                </a:solidFill>
                <a:latin typeface="Arial" panose="020B0604020202020204" pitchFamily="34" charset="0"/>
              </a:defRPr>
            </a:lvl1pPr>
            <a:lvl2pPr algn="l">
              <a:defRPr sz="1500" b="0" i="0" u="none" strike="noStrike">
                <a:solidFill>
                  <a:schemeClr val="tx1"/>
                </a:solidFill>
                <a:latin typeface="Arial" panose="020B0604020202020204" pitchFamily="34" charset="0"/>
              </a:defRPr>
            </a:lvl2pPr>
            <a:lvl3pPr algn="l">
              <a:defRPr sz="1500" b="0" i="0" u="none" strike="noStrike">
                <a:solidFill>
                  <a:schemeClr val="tx1"/>
                </a:solidFill>
                <a:latin typeface="Arial" panose="020B0604020202020204" pitchFamily="34" charset="0"/>
              </a:defRPr>
            </a:lvl3pPr>
            <a:lvl4pPr algn="l">
              <a:defRPr sz="1500" b="1" i="0" u="none" strike="noStrike">
                <a:solidFill>
                  <a:schemeClr val="tx1"/>
                </a:solidFill>
                <a:latin typeface="Arial" panose="020B0604020202020204" pitchFamily="34" charset="0"/>
              </a:defRPr>
            </a:lvl4pPr>
            <a:lvl5pPr algn="l">
              <a:defRPr sz="1500" b="0" i="0" u="none" strike="noStrike">
                <a:solidFill>
                  <a:schemeClr val="tx1"/>
                </a:solidFill>
                <a:latin typeface="Arial" panose="020B0604020202020204" pitchFamily="34" charset="0"/>
              </a:defRPr>
            </a:lvl5pPr>
            <a:lvl6pPr algn="l">
              <a:defRPr sz="1050" b="0" i="0" u="none" strike="noStrike">
                <a:solidFill>
                  <a:schemeClr val="tx1"/>
                </a:solidFill>
                <a:latin typeface="Arial" panose="020B0604020202020204" pitchFamily="34" charset="0"/>
              </a:defRPr>
            </a:lvl6pPr>
            <a:lvl7pPr algn="l">
              <a:defRPr sz="1050" b="1" i="0" u="none" strike="noStrike">
                <a:solidFill>
                  <a:schemeClr val="tx1"/>
                </a:solidFill>
                <a:latin typeface="Arial" panose="020B0604020202020204" pitchFamily="34" charset="0"/>
              </a:defRPr>
            </a:lvl7pPr>
            <a:lvl8pPr algn="l">
              <a:defRPr sz="1050" b="0" i="0" u="none" strike="noStrike">
                <a:solidFill>
                  <a:schemeClr val="tx1"/>
                </a:solidFill>
                <a:latin typeface="Arial" panose="020B0604020202020204" pitchFamily="34" charset="0"/>
              </a:defRPr>
            </a:lvl8pPr>
            <a:lvl9pPr algn="l">
              <a:defRPr sz="4950" b="0" i="0" u="none" strike="noStrike">
                <a:solidFill>
                  <a:schemeClr val="tx1"/>
                </a:solidFill>
                <a:latin typeface="Arial" panose="020B0604020202020204" pitchFamily="34" charset="0"/>
              </a:defRPr>
            </a:lvl9pPr>
          </a:lstStyle>
          <a:p>
            <a:pPr lvl="0"/>
            <a:r>
              <a:rPr lang="da-DK" dirty="0"/>
              <a:t>Her skriver du understøttende tekst til din figur. Du kan slukke for bullets, hvis det er mere oplagt til dit indhold.</a:t>
            </a:r>
          </a:p>
          <a:p>
            <a:pPr lvl="8"/>
            <a:endParaRPr lang="da-DK" dirty="0"/>
          </a:p>
        </p:txBody>
      </p:sp>
      <p:sp>
        <p:nvSpPr>
          <p:cNvPr id="8" name="Content Placeholder 7">
            <a:extLst>
              <a:ext uri="{FF2B5EF4-FFF2-40B4-BE49-F238E27FC236}">
                <a16:creationId xmlns:a16="http://schemas.microsoft.com/office/drawing/2014/main" id="{CFEAC85F-0499-4D96-8E17-04ED86FF3E00}"/>
              </a:ext>
            </a:extLst>
          </p:cNvPr>
          <p:cNvSpPr>
            <a:spLocks noGrp="1"/>
          </p:cNvSpPr>
          <p:nvPr>
            <p:ph sz="quarter" idx="23" hasCustomPrompt="1"/>
          </p:nvPr>
        </p:nvSpPr>
        <p:spPr>
          <a:xfrm>
            <a:off x="4664869" y="-1"/>
            <a:ext cx="4479131" cy="5143500"/>
          </a:xfrm>
          <a:effectLst/>
        </p:spPr>
        <p:txBody>
          <a:bodyPr vert="horz" wrap="square" tIns="1440000" anchor="ctr" anchorCtr="0">
            <a:normAutofit/>
          </a:bodyPr>
          <a:lstStyle>
            <a:lvl1pPr marL="0" indent="0" algn="ctr">
              <a:buNone/>
              <a:defRPr sz="1050" b="0" i="0" u="none" strike="noStrike">
                <a:solidFill>
                  <a:schemeClr val="tx1"/>
                </a:solidFill>
                <a:latin typeface="Arial" panose="020B0604020202020204" pitchFamily="34" charset="0"/>
              </a:defRPr>
            </a:lvl1pPr>
          </a:lstStyle>
          <a:p>
            <a:pPr lvl="0"/>
            <a:r>
              <a:rPr lang="da-DK" dirty="0"/>
              <a:t>Klik for at indsætte tabel, diagram eller SmartArt</a:t>
            </a:r>
          </a:p>
        </p:txBody>
      </p:sp>
      <p:sp>
        <p:nvSpPr>
          <p:cNvPr id="14" name="Footer Placeholder 13">
            <a:extLst>
              <a:ext uri="{FF2B5EF4-FFF2-40B4-BE49-F238E27FC236}">
                <a16:creationId xmlns:a16="http://schemas.microsoft.com/office/drawing/2014/main" id="{B4B25105-14EB-4DD1-9FF2-54E85C13ED20}"/>
              </a:ext>
            </a:extLst>
          </p:cNvPr>
          <p:cNvSpPr>
            <a:spLocks noGrp="1"/>
          </p:cNvSpPr>
          <p:nvPr>
            <p:ph type="ftr" sz="quarter" idx="25"/>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15" name="Slide Number Placeholder 14">
            <a:extLst>
              <a:ext uri="{FF2B5EF4-FFF2-40B4-BE49-F238E27FC236}">
                <a16:creationId xmlns:a16="http://schemas.microsoft.com/office/drawing/2014/main" id="{F10A3832-2F8A-4177-8F74-C8F4A33ED491}"/>
              </a:ext>
            </a:extLst>
          </p:cNvPr>
          <p:cNvSpPr>
            <a:spLocks noGrp="1"/>
          </p:cNvSpPr>
          <p:nvPr>
            <p:ph type="sldNum" sz="quarter" idx="26"/>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7" name="Date Placeholder 6">
            <a:extLst>
              <a:ext uri="{FF2B5EF4-FFF2-40B4-BE49-F238E27FC236}">
                <a16:creationId xmlns:a16="http://schemas.microsoft.com/office/drawing/2014/main" id="{147A4C22-3182-4975-AC5B-8EA602B6DB26}"/>
              </a:ext>
            </a:extLst>
          </p:cNvPr>
          <p:cNvSpPr>
            <a:spLocks noGrp="1"/>
          </p:cNvSpPr>
          <p:nvPr>
            <p:ph type="dt" sz="half" idx="24"/>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96778A3E-B553-405E-90D8-F70208AFCE0A}" type="datetime2">
              <a:rPr lang="da-DK" smtClean="0"/>
              <a:t>17. september 2025</a:t>
            </a:fld>
            <a:endParaRPr lang="da-DK" dirty="0"/>
          </a:p>
        </p:txBody>
      </p:sp>
    </p:spTree>
    <p:extLst>
      <p:ext uri="{BB962C8B-B14F-4D97-AF65-F5344CB8AC3E}">
        <p14:creationId xmlns:p14="http://schemas.microsoft.com/office/powerpoint/2010/main" val="267681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 og billede_blå">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8213E6-9D23-2189-A396-79BD8355E273}"/>
              </a:ext>
            </a:extLst>
          </p:cNvPr>
          <p:cNvSpPr/>
          <p:nvPr userDrawn="1"/>
        </p:nvSpPr>
        <p:spPr bwMode="white">
          <a:xfrm>
            <a:off x="0" y="0"/>
            <a:ext cx="9144000" cy="5143500"/>
          </a:xfrm>
          <a:prstGeom prst="rect">
            <a:avLst/>
          </a:prstGeom>
          <a:solidFill>
            <a:srgbClr val="1E6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8" name="Pladsholder til billede 7">
            <a:extLst>
              <a:ext uri="{FF2B5EF4-FFF2-40B4-BE49-F238E27FC236}">
                <a16:creationId xmlns:a16="http://schemas.microsoft.com/office/drawing/2014/main" id="{7F6F7EDA-6EAA-AE47-84A7-4A9D256922FF}"/>
              </a:ext>
            </a:extLst>
          </p:cNvPr>
          <p:cNvSpPr>
            <a:spLocks noGrp="1"/>
          </p:cNvSpPr>
          <p:nvPr>
            <p:ph type="pic" sz="quarter" idx="13" hasCustomPrompt="1"/>
          </p:nvPr>
        </p:nvSpPr>
        <p:spPr>
          <a:xfrm>
            <a:off x="4664869" y="0"/>
            <a:ext cx="4479131" cy="5143500"/>
          </a:xfrm>
          <a:pattFill prst="pct30">
            <a:fgClr>
              <a:srgbClr val="1E6791"/>
            </a:fgClr>
            <a:bgClr>
              <a:schemeClr val="tx1"/>
            </a:bgClr>
          </a:pattFill>
          <a:effectLst/>
        </p:spPr>
        <p:txBody>
          <a:bodyPr vert="horz" wrap="square" tIns="792000" anchor="ctr" anchorCtr="0">
            <a:normAutofit/>
          </a:bodyPr>
          <a:lstStyle>
            <a:lvl1pPr marL="0" indent="0" algn="ctr">
              <a:buNone/>
              <a:defRPr sz="1050" b="0" i="0" u="none" strike="noStrike">
                <a:solidFill>
                  <a:schemeClr val="tx1"/>
                </a:solidFill>
                <a:latin typeface="Arial" panose="020B0604020202020204" pitchFamily="34" charset="0"/>
              </a:defRPr>
            </a:lvl1pPr>
          </a:lstStyle>
          <a:p>
            <a:r>
              <a:rPr lang="da-DK" dirty="0"/>
              <a:t>Klikpåikonet for at tilføjebillede</a:t>
            </a:r>
          </a:p>
        </p:txBody>
      </p:sp>
      <p:sp>
        <p:nvSpPr>
          <p:cNvPr id="2" name="Titel 1">
            <a:extLst>
              <a:ext uri="{FF2B5EF4-FFF2-40B4-BE49-F238E27FC236}">
                <a16:creationId xmlns:a16="http://schemas.microsoft.com/office/drawing/2014/main" id="{46E4B57B-A786-0D40-BE76-7BCC1CA0C47C}"/>
              </a:ext>
            </a:extLst>
          </p:cNvPr>
          <p:cNvSpPr>
            <a:spLocks noGrp="1"/>
          </p:cNvSpPr>
          <p:nvPr>
            <p:ph type="title" hasCustomPrompt="1"/>
          </p:nvPr>
        </p:nvSpPr>
        <p:spPr>
          <a:xfrm>
            <a:off x="417250" y="580374"/>
            <a:ext cx="3854540" cy="857250"/>
          </a:xfrm>
          <a:prstGeom prst="rect">
            <a:avLst/>
          </a:prstGeom>
          <a:effectLst/>
        </p:spPr>
        <p:txBody>
          <a:bodyPr vert="horz" wrap="square" anchor="b">
            <a:noAutofit/>
          </a:bodyPr>
          <a:lstStyle>
            <a:lvl1pPr algn="l">
              <a:defRPr sz="2400" b="0" i="0" u="none" strike="noStrike">
                <a:solidFill>
                  <a:schemeClr val="tx1"/>
                </a:solidFill>
                <a:latin typeface="Arial" panose="020B0604020202020204" pitchFamily="34" charset="0"/>
              </a:defRPr>
            </a:lvl1pPr>
          </a:lstStyle>
          <a:p>
            <a:r>
              <a:rPr lang="da-DK" dirty="0"/>
              <a:t>Her kan du skriveenoverskrift</a:t>
            </a:r>
          </a:p>
        </p:txBody>
      </p:sp>
      <p:sp>
        <p:nvSpPr>
          <p:cNvPr id="9" name="Text Placeholder 3">
            <a:extLst>
              <a:ext uri="{FF2B5EF4-FFF2-40B4-BE49-F238E27FC236}">
                <a16:creationId xmlns:a16="http://schemas.microsoft.com/office/drawing/2014/main" id="{F84DDDE2-E445-4724-B767-E8A20D5D0B67}"/>
              </a:ext>
            </a:extLst>
          </p:cNvPr>
          <p:cNvSpPr>
            <a:spLocks noGrp="1"/>
          </p:cNvSpPr>
          <p:nvPr>
            <p:ph type="body" sz="quarter" idx="19" hasCustomPrompt="1"/>
          </p:nvPr>
        </p:nvSpPr>
        <p:spPr>
          <a:xfrm>
            <a:off x="417250" y="1545636"/>
            <a:ext cx="3854540" cy="2891894"/>
          </a:xfrm>
          <a:effectLst/>
        </p:spPr>
        <p:txBody>
          <a:bodyPr vert="horz" wrap="square" anchor="t">
            <a:normAutofit/>
          </a:bodyPr>
          <a:lstStyle>
            <a:lvl1pPr algn="l">
              <a:defRPr sz="1500" b="0" i="0" u="none" strike="noStrike">
                <a:solidFill>
                  <a:schemeClr val="tx1"/>
                </a:solidFill>
                <a:latin typeface="Arial" panose="020B0604020202020204" pitchFamily="34" charset="0"/>
              </a:defRPr>
            </a:lvl1pPr>
            <a:lvl2pPr algn="l">
              <a:defRPr sz="1500" b="0" i="0" u="none" strike="noStrike">
                <a:solidFill>
                  <a:schemeClr val="tx1"/>
                </a:solidFill>
                <a:latin typeface="Arial" panose="020B0604020202020204" pitchFamily="34" charset="0"/>
              </a:defRPr>
            </a:lvl2pPr>
            <a:lvl3pPr algn="l">
              <a:defRPr sz="1500" b="0" i="0" u="none" strike="noStrike">
                <a:solidFill>
                  <a:schemeClr val="tx1"/>
                </a:solidFill>
                <a:latin typeface="Arial" panose="020B0604020202020204" pitchFamily="34" charset="0"/>
              </a:defRPr>
            </a:lvl3pPr>
            <a:lvl4pPr algn="l">
              <a:defRPr sz="1500" b="1" i="0" u="none" strike="noStrike">
                <a:solidFill>
                  <a:schemeClr val="tx1"/>
                </a:solidFill>
                <a:latin typeface="Arial" panose="020B0604020202020204" pitchFamily="34" charset="0"/>
              </a:defRPr>
            </a:lvl4pPr>
            <a:lvl5pPr algn="l">
              <a:defRPr sz="1500" b="0" i="0" u="none" strike="noStrike">
                <a:solidFill>
                  <a:schemeClr val="tx1"/>
                </a:solidFill>
                <a:latin typeface="Arial" panose="020B0604020202020204" pitchFamily="34" charset="0"/>
              </a:defRPr>
            </a:lvl5pPr>
            <a:lvl6pPr algn="l">
              <a:defRPr sz="1050" b="0" i="0" u="none" strike="noStrike">
                <a:solidFill>
                  <a:schemeClr val="tx1"/>
                </a:solidFill>
                <a:latin typeface="Arial" panose="020B0604020202020204" pitchFamily="34" charset="0"/>
              </a:defRPr>
            </a:lvl6pPr>
            <a:lvl7pPr algn="l">
              <a:defRPr sz="1050" b="1" i="0" u="none" strike="noStrike">
                <a:solidFill>
                  <a:schemeClr val="tx1"/>
                </a:solidFill>
                <a:latin typeface="Arial" panose="020B0604020202020204" pitchFamily="34" charset="0"/>
              </a:defRPr>
            </a:lvl7pPr>
            <a:lvl8pPr algn="l">
              <a:defRPr sz="1050" b="0" i="0" u="none" strike="noStrike">
                <a:solidFill>
                  <a:schemeClr val="tx1"/>
                </a:solidFill>
                <a:latin typeface="Arial" panose="020B0604020202020204" pitchFamily="34" charset="0"/>
              </a:defRPr>
            </a:lvl8pPr>
            <a:lvl9pPr algn="l">
              <a:defRPr sz="4950" b="0" i="0" u="none" strike="noStrike">
                <a:solidFill>
                  <a:schemeClr val="tx1"/>
                </a:solidFill>
                <a:latin typeface="Arial" panose="020B0604020202020204" pitchFamily="34" charset="0"/>
              </a:defRPr>
            </a:lvl9pPr>
          </a:lstStyle>
          <a:p>
            <a:pPr lvl="0"/>
            <a:r>
              <a:rPr lang="da-DK" dirty="0"/>
              <a:t>Her kan du tilføje din tekst. Du kanslukke for bullets, hvis det er mere oplagt til ditindhold.</a:t>
            </a:r>
          </a:p>
          <a:p>
            <a:pPr lvl="8"/>
            <a:endParaRPr lang="da-DK" dirty="0"/>
          </a:p>
        </p:txBody>
      </p:sp>
      <p:sp>
        <p:nvSpPr>
          <p:cNvPr id="5" name="Date Placeholder 4">
            <a:extLst>
              <a:ext uri="{FF2B5EF4-FFF2-40B4-BE49-F238E27FC236}">
                <a16:creationId xmlns:a16="http://schemas.microsoft.com/office/drawing/2014/main" id="{736F0C2A-082B-4822-8B9C-F5EA0FB3BDB7}"/>
              </a:ext>
            </a:extLst>
          </p:cNvPr>
          <p:cNvSpPr>
            <a:spLocks noGrp="1"/>
          </p:cNvSpPr>
          <p:nvPr>
            <p:ph type="dt" sz="half" idx="20"/>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8DE9B860-84DB-4271-8531-CE80DADE0F03}" type="datetime2">
              <a:rPr lang="da-DK" smtClean="0"/>
              <a:t>17. september 2025</a:t>
            </a:fld>
            <a:endParaRPr lang="da-DK" dirty="0"/>
          </a:p>
        </p:txBody>
      </p:sp>
      <p:sp>
        <p:nvSpPr>
          <p:cNvPr id="10" name="Footer Placeholder 9">
            <a:extLst>
              <a:ext uri="{FF2B5EF4-FFF2-40B4-BE49-F238E27FC236}">
                <a16:creationId xmlns:a16="http://schemas.microsoft.com/office/drawing/2014/main" id="{F93A672E-8A25-44FA-8F8D-4C0D4CC1A873}"/>
              </a:ext>
            </a:extLst>
          </p:cNvPr>
          <p:cNvSpPr>
            <a:spLocks noGrp="1"/>
          </p:cNvSpPr>
          <p:nvPr>
            <p:ph type="ftr" sz="quarter" idx="21"/>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12" name="Slide Number Placeholder 11">
            <a:extLst>
              <a:ext uri="{FF2B5EF4-FFF2-40B4-BE49-F238E27FC236}">
                <a16:creationId xmlns:a16="http://schemas.microsoft.com/office/drawing/2014/main" id="{8C7929A5-26DA-4714-8B21-A866D45C3809}"/>
              </a:ext>
            </a:extLst>
          </p:cNvPr>
          <p:cNvSpPr>
            <a:spLocks noGrp="1"/>
          </p:cNvSpPr>
          <p:nvPr>
            <p:ph type="sldNum" sz="quarter" idx="22"/>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Tree>
    <p:extLst>
      <p:ext uri="{BB962C8B-B14F-4D97-AF65-F5344CB8AC3E}">
        <p14:creationId xmlns:p14="http://schemas.microsoft.com/office/powerpoint/2010/main" val="4062477829"/>
      </p:ext>
    </p:extLst>
  </p:cSld>
  <p:clrMapOvr>
    <a:overrideClrMapping bg1="dk1" tx1="lt1" bg2="dk2" tx2="lt2" accent1="l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kst og billede">
    <p:bg>
      <p:bgPr>
        <a:solidFill>
          <a:schemeClr val="bg1"/>
        </a:solid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7F6F7EDA-6EAA-AE47-84A7-4A9D256922FF}"/>
              </a:ext>
            </a:extLst>
          </p:cNvPr>
          <p:cNvSpPr>
            <a:spLocks noGrp="1"/>
          </p:cNvSpPr>
          <p:nvPr>
            <p:ph type="pic" sz="quarter" idx="13" hasCustomPrompt="1"/>
          </p:nvPr>
        </p:nvSpPr>
        <p:spPr>
          <a:xfrm>
            <a:off x="4664869" y="0"/>
            <a:ext cx="4479131" cy="5143500"/>
          </a:xfrm>
          <a:pattFill prst="pct30">
            <a:fgClr>
              <a:schemeClr val="accent1">
                <a:lumMod val="100000"/>
              </a:schemeClr>
            </a:fgClr>
            <a:bgClr>
              <a:schemeClr val="bg1">
                <a:lumMod val="100000"/>
              </a:schemeClr>
            </a:bgClr>
          </a:pattFill>
          <a:effectLst/>
        </p:spPr>
        <p:txBody>
          <a:bodyPr vert="horz" wrap="square" tIns="792000" anchor="ctr" anchorCtr="0">
            <a:normAutofit/>
          </a:bodyPr>
          <a:lstStyle>
            <a:lvl1pPr marL="0" indent="0" algn="ctr">
              <a:buNone/>
              <a:defRPr sz="1350" b="0" i="0" u="none" strike="noStrike">
                <a:solidFill>
                  <a:schemeClr val="tx1"/>
                </a:solidFill>
                <a:latin typeface="Arial" panose="020B0604020202020204" pitchFamily="34" charset="0"/>
              </a:defRPr>
            </a:lvl1pPr>
          </a:lstStyle>
          <a:p>
            <a:r>
              <a:rPr lang="da-DK" dirty="0"/>
              <a:t>Klik på ikonet for at tilføje billede</a:t>
            </a:r>
          </a:p>
        </p:txBody>
      </p:sp>
      <p:sp>
        <p:nvSpPr>
          <p:cNvPr id="2" name="Titel 1">
            <a:extLst>
              <a:ext uri="{FF2B5EF4-FFF2-40B4-BE49-F238E27FC236}">
                <a16:creationId xmlns:a16="http://schemas.microsoft.com/office/drawing/2014/main" id="{46E4B57B-A786-0D40-BE76-7BCC1CA0C47C}"/>
              </a:ext>
            </a:extLst>
          </p:cNvPr>
          <p:cNvSpPr>
            <a:spLocks noGrp="1"/>
          </p:cNvSpPr>
          <p:nvPr>
            <p:ph type="title" hasCustomPrompt="1"/>
          </p:nvPr>
        </p:nvSpPr>
        <p:spPr>
          <a:xfrm>
            <a:off x="417249" y="580374"/>
            <a:ext cx="3854540" cy="857250"/>
          </a:xfrm>
          <a:prstGeom prst="rect">
            <a:avLst/>
          </a:prstGeom>
          <a:effectLst/>
        </p:spPr>
        <p:txBody>
          <a:bodyPr vert="horz" wrap="square" anchor="b">
            <a:noAutofit/>
          </a:bodyPr>
          <a:lstStyle>
            <a:lvl1pPr algn="l">
              <a:defRPr sz="2400" b="0" i="0" u="none" strike="noStrike">
                <a:solidFill>
                  <a:schemeClr val="tx1"/>
                </a:solidFill>
                <a:latin typeface="Arial" panose="020B0604020202020204" pitchFamily="34" charset="0"/>
              </a:defRPr>
            </a:lvl1pPr>
          </a:lstStyle>
          <a:p>
            <a:r>
              <a:rPr lang="da-DK" dirty="0"/>
              <a:t>Her kan du skrive en overskrift</a:t>
            </a:r>
          </a:p>
        </p:txBody>
      </p:sp>
      <p:sp>
        <p:nvSpPr>
          <p:cNvPr id="7" name="Text Placeholder 3">
            <a:extLst>
              <a:ext uri="{FF2B5EF4-FFF2-40B4-BE49-F238E27FC236}">
                <a16:creationId xmlns:a16="http://schemas.microsoft.com/office/drawing/2014/main" id="{73212433-1D68-4C2C-BDDD-B4F7919157B6}"/>
              </a:ext>
            </a:extLst>
          </p:cNvPr>
          <p:cNvSpPr>
            <a:spLocks noGrp="1"/>
          </p:cNvSpPr>
          <p:nvPr>
            <p:ph type="body" sz="quarter" idx="19" hasCustomPrompt="1"/>
          </p:nvPr>
        </p:nvSpPr>
        <p:spPr>
          <a:xfrm>
            <a:off x="417250" y="1545636"/>
            <a:ext cx="3854540" cy="2862059"/>
          </a:xfrm>
          <a:effectLst/>
        </p:spPr>
        <p:txBody>
          <a:bodyPr vert="horz" wrap="square" anchor="t">
            <a:normAutofit/>
          </a:bodyPr>
          <a:lstStyle>
            <a:lvl1pPr algn="l">
              <a:defRPr sz="1500" b="0" i="0" u="none" strike="noStrike">
                <a:solidFill>
                  <a:schemeClr val="tx1"/>
                </a:solidFill>
                <a:latin typeface="Arial" panose="020B0604020202020204" pitchFamily="34" charset="0"/>
              </a:defRPr>
            </a:lvl1pPr>
            <a:lvl2pPr algn="l">
              <a:defRPr sz="1500" b="0" i="0" u="none" strike="noStrike">
                <a:solidFill>
                  <a:schemeClr val="tx1"/>
                </a:solidFill>
                <a:latin typeface="Arial" panose="020B0604020202020204" pitchFamily="34" charset="0"/>
              </a:defRPr>
            </a:lvl2pPr>
            <a:lvl3pPr algn="l">
              <a:defRPr sz="1500" b="0" i="0" u="none" strike="noStrike">
                <a:solidFill>
                  <a:schemeClr val="tx1"/>
                </a:solidFill>
                <a:latin typeface="Arial" panose="020B0604020202020204" pitchFamily="34" charset="0"/>
              </a:defRPr>
            </a:lvl3pPr>
            <a:lvl4pPr algn="l">
              <a:defRPr sz="1500" b="1" i="0" u="none" strike="noStrike">
                <a:solidFill>
                  <a:schemeClr val="tx1"/>
                </a:solidFill>
                <a:latin typeface="Arial" panose="020B0604020202020204" pitchFamily="34" charset="0"/>
              </a:defRPr>
            </a:lvl4pPr>
            <a:lvl5pPr algn="l">
              <a:defRPr sz="1500" b="0" i="0" u="none" strike="noStrike">
                <a:solidFill>
                  <a:schemeClr val="tx1"/>
                </a:solidFill>
                <a:latin typeface="Arial" panose="020B0604020202020204" pitchFamily="34" charset="0"/>
              </a:defRPr>
            </a:lvl5pPr>
            <a:lvl6pPr algn="l">
              <a:defRPr sz="1050" b="0" i="0" u="none" strike="noStrike">
                <a:solidFill>
                  <a:schemeClr val="tx1"/>
                </a:solidFill>
                <a:latin typeface="Arial" panose="020B0604020202020204" pitchFamily="34" charset="0"/>
              </a:defRPr>
            </a:lvl6pPr>
            <a:lvl7pPr algn="l">
              <a:defRPr sz="1050" b="1" i="0" u="none" strike="noStrike">
                <a:solidFill>
                  <a:schemeClr val="tx1"/>
                </a:solidFill>
                <a:latin typeface="Arial" panose="020B0604020202020204" pitchFamily="34" charset="0"/>
              </a:defRPr>
            </a:lvl7pPr>
            <a:lvl8pPr algn="l">
              <a:defRPr sz="1050" b="0" i="0" u="none" strike="noStrike">
                <a:solidFill>
                  <a:schemeClr val="tx1"/>
                </a:solidFill>
                <a:latin typeface="Arial" panose="020B0604020202020204" pitchFamily="34" charset="0"/>
              </a:defRPr>
            </a:lvl8pPr>
            <a:lvl9pPr algn="l">
              <a:defRPr sz="4950" b="0" i="0" u="none" strike="noStrike">
                <a:solidFill>
                  <a:schemeClr val="tx1"/>
                </a:solidFill>
                <a:latin typeface="Arial" panose="020B0604020202020204" pitchFamily="34" charset="0"/>
              </a:defRPr>
            </a:lvl9pPr>
          </a:lstStyle>
          <a:p>
            <a:pPr lvl="0"/>
            <a:r>
              <a:rPr lang="da-DK" dirty="0"/>
              <a:t>Her kan du tilføje din tekst. Du kan slukke for bullets, hvis det er mere oplagt til dit indhold.</a:t>
            </a:r>
          </a:p>
          <a:p>
            <a:pPr lvl="8"/>
            <a:endParaRPr lang="da-DK" dirty="0"/>
          </a:p>
        </p:txBody>
      </p:sp>
      <p:sp>
        <p:nvSpPr>
          <p:cNvPr id="5" name="Date Placeholder 4">
            <a:extLst>
              <a:ext uri="{FF2B5EF4-FFF2-40B4-BE49-F238E27FC236}">
                <a16:creationId xmlns:a16="http://schemas.microsoft.com/office/drawing/2014/main" id="{FF14FABB-3F4B-412C-813F-1044C6AB0105}"/>
              </a:ext>
            </a:extLst>
          </p:cNvPr>
          <p:cNvSpPr>
            <a:spLocks noGrp="1"/>
          </p:cNvSpPr>
          <p:nvPr>
            <p:ph type="dt" sz="half" idx="20"/>
          </p:nvPr>
        </p:nvSpPr>
        <p:spPr>
          <a:xfrm>
            <a:off x="6790135" y="4811316"/>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D088546-47A6-483D-A8E4-5FA6EF123555}" type="datetime2">
              <a:rPr lang="da-DK" smtClean="0"/>
              <a:t>17. september 2025</a:t>
            </a:fld>
            <a:endParaRPr lang="da-DK" dirty="0"/>
          </a:p>
        </p:txBody>
      </p:sp>
      <p:sp>
        <p:nvSpPr>
          <p:cNvPr id="9" name="Footer Placeholder 8">
            <a:extLst>
              <a:ext uri="{FF2B5EF4-FFF2-40B4-BE49-F238E27FC236}">
                <a16:creationId xmlns:a16="http://schemas.microsoft.com/office/drawing/2014/main" id="{B32736D8-64F2-4E70-8DCB-5C30A278E5CD}"/>
              </a:ext>
            </a:extLst>
          </p:cNvPr>
          <p:cNvSpPr>
            <a:spLocks noGrp="1"/>
          </p:cNvSpPr>
          <p:nvPr>
            <p:ph type="ftr" sz="quarter" idx="21"/>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
        <p:nvSpPr>
          <p:cNvPr id="10" name="Slide Number Placeholder 9">
            <a:extLst>
              <a:ext uri="{FF2B5EF4-FFF2-40B4-BE49-F238E27FC236}">
                <a16:creationId xmlns:a16="http://schemas.microsoft.com/office/drawing/2014/main" id="{92BF1C6D-995C-4E94-9364-B5703FEED58F}"/>
              </a:ext>
            </a:extLst>
          </p:cNvPr>
          <p:cNvSpPr>
            <a:spLocks noGrp="1"/>
          </p:cNvSpPr>
          <p:nvPr>
            <p:ph type="sldNum" sz="quarter" idx="22"/>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Tree>
    <p:extLst>
      <p:ext uri="{BB962C8B-B14F-4D97-AF65-F5344CB8AC3E}">
        <p14:creationId xmlns:p14="http://schemas.microsoft.com/office/powerpoint/2010/main" val="4007654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DFI_Tekst &amp; billede i bunden_01">
    <p:bg>
      <p:bgPr>
        <a:solidFill>
          <a:schemeClr val="bg1"/>
        </a:solidFill>
        <a:effectLst/>
      </p:bgPr>
    </p:bg>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0" y="3434954"/>
            <a:ext cx="9144000" cy="1708546"/>
          </a:xfrm>
          <a:prstGeom prst="rect">
            <a:avLst/>
          </a:prstGeom>
          <a:pattFill prst="pct30">
            <a:fgClr>
              <a:schemeClr val="accent1"/>
            </a:fgClr>
            <a:bgClr>
              <a:schemeClr val="bg1"/>
            </a:bgClr>
          </a:pattFill>
        </p:spPr>
        <p:txBody>
          <a:bodyPr tIns="792000" anchor="ctr">
            <a:normAutofit/>
          </a:bodyPr>
          <a:lstStyle>
            <a:lvl1pPr marL="0" indent="0" algn="ctr">
              <a:buNone/>
              <a:defRPr sz="1350" baseline="0"/>
            </a:lvl1pPr>
          </a:lstStyle>
          <a:p>
            <a:r>
              <a:rPr lang="da-DK" dirty="0"/>
              <a:t>Klik på ikonet for at tilføje billede</a:t>
            </a:r>
          </a:p>
        </p:txBody>
      </p:sp>
      <p:sp>
        <p:nvSpPr>
          <p:cNvPr id="2" name="Pladsholder til titel 1">
            <a:extLst>
              <a:ext uri="{FF2B5EF4-FFF2-40B4-BE49-F238E27FC236}">
                <a16:creationId xmlns:a16="http://schemas.microsoft.com/office/drawing/2014/main" id="{B595594E-986F-9675-FD38-B8CC2D95A96C}"/>
              </a:ext>
            </a:extLst>
          </p:cNvPr>
          <p:cNvSpPr>
            <a:spLocks noGrp="1"/>
          </p:cNvSpPr>
          <p:nvPr>
            <p:ph type="title" hasCustomPrompt="1"/>
          </p:nvPr>
        </p:nvSpPr>
        <p:spPr>
          <a:xfrm>
            <a:off x="417251" y="205979"/>
            <a:ext cx="8309499" cy="857250"/>
          </a:xfrm>
          <a:prstGeom prst="rect">
            <a:avLst/>
          </a:prstGeom>
        </p:spPr>
        <p:txBody>
          <a:bodyPr vert="horz" lIns="0" tIns="40934" rIns="81869" bIns="40934" rtlCol="0" anchor="b" anchorCtr="0">
            <a:noAutofit/>
          </a:bodyPr>
          <a:lstStyle>
            <a:lvl1pPr>
              <a:defRPr sz="2400">
                <a:solidFill>
                  <a:schemeClr val="tx1"/>
                </a:solidFill>
              </a:defRPr>
            </a:lvl1pPr>
          </a:lstStyle>
          <a:p>
            <a:r>
              <a:rPr lang="da-DK" noProof="0" dirty="0"/>
              <a:t>Klik her for at tilføje tekst</a:t>
            </a:r>
          </a:p>
        </p:txBody>
      </p:sp>
      <p:sp>
        <p:nvSpPr>
          <p:cNvPr id="3" name="Pladsholder til tekst 2">
            <a:extLst>
              <a:ext uri="{FF2B5EF4-FFF2-40B4-BE49-F238E27FC236}">
                <a16:creationId xmlns:a16="http://schemas.microsoft.com/office/drawing/2014/main" id="{2C07E124-4BAF-8EA7-C0DE-BB6D6E05E290}"/>
              </a:ext>
            </a:extLst>
          </p:cNvPr>
          <p:cNvSpPr>
            <a:spLocks noGrp="1"/>
          </p:cNvSpPr>
          <p:nvPr>
            <p:ph type="body" sz="quarter" idx="21" hasCustomPrompt="1"/>
          </p:nvPr>
        </p:nvSpPr>
        <p:spPr>
          <a:xfrm>
            <a:off x="417250" y="1188504"/>
            <a:ext cx="4060691" cy="2042788"/>
          </a:xfrm>
        </p:spPr>
        <p:txBody>
          <a:bodyPr/>
          <a:lstStyle>
            <a:lvl1pPr>
              <a:defRPr>
                <a:solidFill>
                  <a:schemeClr val="tx1"/>
                </a:solidFill>
              </a:defRPr>
            </a:lvl1pPr>
          </a:lstStyle>
          <a:p>
            <a:pPr lvl="0"/>
            <a:r>
              <a:rPr lang="da-DK" dirty="0"/>
              <a:t>Klik for at tilføje tekst</a:t>
            </a:r>
          </a:p>
        </p:txBody>
      </p:sp>
      <p:sp>
        <p:nvSpPr>
          <p:cNvPr id="4" name="Pladsholder til tekst 2">
            <a:extLst>
              <a:ext uri="{FF2B5EF4-FFF2-40B4-BE49-F238E27FC236}">
                <a16:creationId xmlns:a16="http://schemas.microsoft.com/office/drawing/2014/main" id="{E8870357-82AE-D5A6-90CA-D05D3FC3A484}"/>
              </a:ext>
            </a:extLst>
          </p:cNvPr>
          <p:cNvSpPr>
            <a:spLocks noGrp="1"/>
          </p:cNvSpPr>
          <p:nvPr>
            <p:ph type="body" sz="quarter" idx="22" hasCustomPrompt="1"/>
          </p:nvPr>
        </p:nvSpPr>
        <p:spPr>
          <a:xfrm>
            <a:off x="4666059" y="1188504"/>
            <a:ext cx="4060691" cy="2042788"/>
          </a:xfrm>
        </p:spPr>
        <p:txBody>
          <a:bodyPr/>
          <a:lstStyle>
            <a:lvl1pPr>
              <a:defRPr>
                <a:solidFill>
                  <a:schemeClr val="tx1"/>
                </a:solidFill>
              </a:defRPr>
            </a:lvl1pPr>
          </a:lstStyle>
          <a:p>
            <a:pPr lvl="0"/>
            <a:r>
              <a:rPr lang="da-DK" dirty="0"/>
              <a:t>Klik for at tilføje tekst</a:t>
            </a:r>
          </a:p>
        </p:txBody>
      </p:sp>
      <p:sp>
        <p:nvSpPr>
          <p:cNvPr id="8" name="Date Placeholder 7">
            <a:extLst>
              <a:ext uri="{FF2B5EF4-FFF2-40B4-BE49-F238E27FC236}">
                <a16:creationId xmlns:a16="http://schemas.microsoft.com/office/drawing/2014/main" id="{65799967-BC60-990D-5056-A4A3DD83DF7D}"/>
              </a:ext>
            </a:extLst>
          </p:cNvPr>
          <p:cNvSpPr>
            <a:spLocks noGrp="1"/>
          </p:cNvSpPr>
          <p:nvPr>
            <p:ph type="dt" sz="half" idx="23"/>
          </p:nvPr>
        </p:nvSpPr>
        <p:spPr/>
        <p:txBody>
          <a:bodyPr/>
          <a:lstStyle/>
          <a:p>
            <a:fld id="{7A8D84A0-B72D-480C-B6F5-E4EA13B9D411}" type="datetime2">
              <a:rPr lang="da-DK" smtClean="0"/>
              <a:t>17. september 2025</a:t>
            </a:fld>
            <a:r>
              <a:rPr lang="da-DK" dirty="0"/>
              <a:t> </a:t>
            </a:r>
          </a:p>
        </p:txBody>
      </p:sp>
      <p:sp>
        <p:nvSpPr>
          <p:cNvPr id="9" name="Footer Placeholder 8">
            <a:extLst>
              <a:ext uri="{FF2B5EF4-FFF2-40B4-BE49-F238E27FC236}">
                <a16:creationId xmlns:a16="http://schemas.microsoft.com/office/drawing/2014/main" id="{8EEA865D-5280-84CA-8504-E21277A66ADB}"/>
              </a:ext>
            </a:extLst>
          </p:cNvPr>
          <p:cNvSpPr>
            <a:spLocks noGrp="1"/>
          </p:cNvSpPr>
          <p:nvPr>
            <p:ph type="ftr" sz="quarter" idx="24"/>
          </p:nvPr>
        </p:nvSpPr>
        <p:spPr/>
        <p:txBody>
          <a:bodyPr/>
          <a:lstStyle/>
          <a:p>
            <a:r>
              <a:rPr lang="da-DK" dirty="0"/>
              <a:t>Klimadatastyrelsen </a:t>
            </a:r>
          </a:p>
        </p:txBody>
      </p:sp>
      <p:sp>
        <p:nvSpPr>
          <p:cNvPr id="10" name="Slide Number Placeholder 9">
            <a:extLst>
              <a:ext uri="{FF2B5EF4-FFF2-40B4-BE49-F238E27FC236}">
                <a16:creationId xmlns:a16="http://schemas.microsoft.com/office/drawing/2014/main" id="{247BE3E7-75FE-29BF-56D7-B453D53798CE}"/>
              </a:ext>
            </a:extLst>
          </p:cNvPr>
          <p:cNvSpPr>
            <a:spLocks noGrp="1"/>
          </p:cNvSpPr>
          <p:nvPr>
            <p:ph type="sldNum" sz="quarter" idx="25"/>
          </p:nvPr>
        </p:nvSpPr>
        <p:spPr/>
        <p:txBody>
          <a:bodyPr/>
          <a:lstStyle/>
          <a:p>
            <a:fld id="{27069E6C-1A00-4921-95F4-578604732DF4}" type="slidenum">
              <a:rPr lang="da-DK" smtClean="0"/>
              <a:pPr/>
              <a:t>‹nr.›</a:t>
            </a:fld>
            <a:endParaRPr lang="da-DK" dirty="0"/>
          </a:p>
        </p:txBody>
      </p:sp>
    </p:spTree>
    <p:extLst>
      <p:ext uri="{BB962C8B-B14F-4D97-AF65-F5344CB8AC3E}">
        <p14:creationId xmlns:p14="http://schemas.microsoft.com/office/powerpoint/2010/main" val="499667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DFI_Tekst &amp; billede_02">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C5E0076-F48C-0E9B-A4FB-F9B29C75A603}"/>
              </a:ext>
            </a:extLst>
          </p:cNvPr>
          <p:cNvSpPr/>
          <p:nvPr userDrawn="1"/>
        </p:nvSpPr>
        <p:spPr bwMode="white">
          <a:xfrm>
            <a:off x="0" y="0"/>
            <a:ext cx="9144000" cy="5143500"/>
          </a:xfrm>
          <a:prstGeom prst="rect">
            <a:avLst/>
          </a:prstGeom>
          <a:solidFill>
            <a:srgbClr val="1E6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13" name="Pladsholder til billede 12"/>
          <p:cNvSpPr>
            <a:spLocks noGrp="1"/>
          </p:cNvSpPr>
          <p:nvPr>
            <p:ph type="pic" sz="quarter" idx="13" hasCustomPrompt="1"/>
          </p:nvPr>
        </p:nvSpPr>
        <p:spPr>
          <a:xfrm>
            <a:off x="0" y="3434954"/>
            <a:ext cx="9144000" cy="1708546"/>
          </a:xfrm>
          <a:prstGeom prst="rect">
            <a:avLst/>
          </a:prstGeom>
          <a:pattFill prst="pct30">
            <a:fgClr>
              <a:schemeClr val="accent1"/>
            </a:fgClr>
            <a:bgClr>
              <a:schemeClr val="tx1"/>
            </a:bgClr>
          </a:pattFill>
        </p:spPr>
        <p:txBody>
          <a:bodyPr tIns="792000" anchor="ctr">
            <a:normAutofit/>
          </a:bodyPr>
          <a:lstStyle>
            <a:lvl1pPr marL="0" indent="0" algn="ctr">
              <a:buNone/>
              <a:defRPr sz="1400" baseline="0"/>
            </a:lvl1pPr>
          </a:lstStyle>
          <a:p>
            <a:r>
              <a:rPr lang="da-DK" dirty="0"/>
              <a:t>Klikpåikonet for at tilføjebillede</a:t>
            </a:r>
          </a:p>
        </p:txBody>
      </p:sp>
      <p:sp>
        <p:nvSpPr>
          <p:cNvPr id="2" name="Pladsholder til titel 1">
            <a:extLst>
              <a:ext uri="{FF2B5EF4-FFF2-40B4-BE49-F238E27FC236}">
                <a16:creationId xmlns:a16="http://schemas.microsoft.com/office/drawing/2014/main" id="{B595594E-986F-9675-FD38-B8CC2D95A96C}"/>
              </a:ext>
            </a:extLst>
          </p:cNvPr>
          <p:cNvSpPr>
            <a:spLocks noGrp="1"/>
          </p:cNvSpPr>
          <p:nvPr>
            <p:ph type="title" hasCustomPrompt="1"/>
          </p:nvPr>
        </p:nvSpPr>
        <p:spPr>
          <a:xfrm>
            <a:off x="417251" y="205979"/>
            <a:ext cx="8309499" cy="857250"/>
          </a:xfrm>
          <a:prstGeom prst="rect">
            <a:avLst/>
          </a:prstGeom>
        </p:spPr>
        <p:txBody>
          <a:bodyPr vert="horz" lIns="0" tIns="40934" rIns="81869" bIns="40934" rtlCol="0" anchor="b" anchorCtr="0">
            <a:noAutofit/>
          </a:bodyPr>
          <a:lstStyle>
            <a:lvl1pPr>
              <a:defRPr sz="2400">
                <a:solidFill>
                  <a:schemeClr val="tx1"/>
                </a:solidFill>
              </a:defRPr>
            </a:lvl1pPr>
          </a:lstStyle>
          <a:p>
            <a:r>
              <a:rPr lang="da-DK" noProof="0" dirty="0"/>
              <a:t>Klik her for at tilføjetekst</a:t>
            </a:r>
          </a:p>
        </p:txBody>
      </p:sp>
      <p:sp>
        <p:nvSpPr>
          <p:cNvPr id="3" name="Pladsholder til tekst 2">
            <a:extLst>
              <a:ext uri="{FF2B5EF4-FFF2-40B4-BE49-F238E27FC236}">
                <a16:creationId xmlns:a16="http://schemas.microsoft.com/office/drawing/2014/main" id="{2C07E124-4BAF-8EA7-C0DE-BB6D6E05E290}"/>
              </a:ext>
            </a:extLst>
          </p:cNvPr>
          <p:cNvSpPr>
            <a:spLocks noGrp="1"/>
          </p:cNvSpPr>
          <p:nvPr>
            <p:ph type="body" sz="quarter" idx="21" hasCustomPrompt="1"/>
          </p:nvPr>
        </p:nvSpPr>
        <p:spPr>
          <a:xfrm>
            <a:off x="417250" y="1188504"/>
            <a:ext cx="4060691" cy="2042788"/>
          </a:xfrm>
        </p:spPr>
        <p:txBody>
          <a:bodyPr/>
          <a:lstStyle>
            <a:lvl1pPr>
              <a:defRPr>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Klik for at tilføje tekst</a:t>
            </a:r>
          </a:p>
        </p:txBody>
      </p:sp>
      <p:sp>
        <p:nvSpPr>
          <p:cNvPr id="4" name="Pladsholder til tekst 2">
            <a:extLst>
              <a:ext uri="{FF2B5EF4-FFF2-40B4-BE49-F238E27FC236}">
                <a16:creationId xmlns:a16="http://schemas.microsoft.com/office/drawing/2014/main" id="{E8870357-82AE-D5A6-90CA-D05D3FC3A484}"/>
              </a:ext>
            </a:extLst>
          </p:cNvPr>
          <p:cNvSpPr>
            <a:spLocks noGrp="1"/>
          </p:cNvSpPr>
          <p:nvPr>
            <p:ph type="body" sz="quarter" idx="22" hasCustomPrompt="1"/>
          </p:nvPr>
        </p:nvSpPr>
        <p:spPr>
          <a:xfrm>
            <a:off x="4666059" y="1188504"/>
            <a:ext cx="4060691" cy="2042788"/>
          </a:xfrm>
        </p:spPr>
        <p:txBody>
          <a:bodyPr/>
          <a:lstStyle>
            <a:lvl1pPr>
              <a:defRPr>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Klik for at tilføje tekst</a:t>
            </a:r>
          </a:p>
        </p:txBody>
      </p:sp>
      <p:sp>
        <p:nvSpPr>
          <p:cNvPr id="8" name="Date Placeholder 7">
            <a:extLst>
              <a:ext uri="{FF2B5EF4-FFF2-40B4-BE49-F238E27FC236}">
                <a16:creationId xmlns:a16="http://schemas.microsoft.com/office/drawing/2014/main" id="{0E8F18EB-1D69-769C-ABC1-712151CF13A2}"/>
              </a:ext>
            </a:extLst>
          </p:cNvPr>
          <p:cNvSpPr>
            <a:spLocks noGrp="1"/>
          </p:cNvSpPr>
          <p:nvPr>
            <p:ph type="dt" sz="half" idx="23"/>
          </p:nvPr>
        </p:nvSpPr>
        <p:spPr/>
        <p:txBody>
          <a:bodyPr/>
          <a:lstStyle/>
          <a:p>
            <a:fld id="{821F1D83-7CD1-440B-8F03-5C37D3F68AB2}" type="datetime2">
              <a:rPr lang="da-DK" smtClean="0"/>
              <a:t>17. september 2025</a:t>
            </a:fld>
            <a:endParaRPr lang="da-DK" dirty="0"/>
          </a:p>
        </p:txBody>
      </p:sp>
      <p:sp>
        <p:nvSpPr>
          <p:cNvPr id="9" name="Footer Placeholder 8">
            <a:extLst>
              <a:ext uri="{FF2B5EF4-FFF2-40B4-BE49-F238E27FC236}">
                <a16:creationId xmlns:a16="http://schemas.microsoft.com/office/drawing/2014/main" id="{FAE2EFE9-8BAC-EE1B-CDA6-2023EDF82A19}"/>
              </a:ext>
            </a:extLst>
          </p:cNvPr>
          <p:cNvSpPr>
            <a:spLocks noGrp="1"/>
          </p:cNvSpPr>
          <p:nvPr>
            <p:ph type="ftr" sz="quarter" idx="24"/>
          </p:nvPr>
        </p:nvSpPr>
        <p:spPr/>
        <p:txBody>
          <a:bodyPr/>
          <a:lstStyle/>
          <a:p>
            <a:r>
              <a:rPr lang="da-DK" dirty="0"/>
              <a:t>Klimadatastyrelsen </a:t>
            </a:r>
          </a:p>
        </p:txBody>
      </p:sp>
      <p:sp>
        <p:nvSpPr>
          <p:cNvPr id="10" name="Slide Number Placeholder 9">
            <a:extLst>
              <a:ext uri="{FF2B5EF4-FFF2-40B4-BE49-F238E27FC236}">
                <a16:creationId xmlns:a16="http://schemas.microsoft.com/office/drawing/2014/main" id="{0DEB6803-0268-6A87-8BE2-C3EB40CEFF09}"/>
              </a:ext>
            </a:extLst>
          </p:cNvPr>
          <p:cNvSpPr>
            <a:spLocks noGrp="1"/>
          </p:cNvSpPr>
          <p:nvPr>
            <p:ph type="sldNum" sz="quarter" idx="25"/>
          </p:nvPr>
        </p:nvSpPr>
        <p:spPr/>
        <p:txBody>
          <a:bodyPr/>
          <a:lstStyle/>
          <a:p>
            <a:fld id="{27069E6C-1A00-4921-95F4-578604732DF4}" type="slidenum">
              <a:rPr lang="da-DK" smtClean="0"/>
              <a:pPr/>
              <a:t>‹nr.›</a:t>
            </a:fld>
            <a:endParaRPr lang="da-DK" dirty="0"/>
          </a:p>
        </p:txBody>
      </p:sp>
    </p:spTree>
    <p:extLst>
      <p:ext uri="{BB962C8B-B14F-4D97-AF65-F5344CB8AC3E}">
        <p14:creationId xmlns:p14="http://schemas.microsoft.com/office/powerpoint/2010/main" val="2052998243"/>
      </p:ext>
    </p:extLst>
  </p:cSld>
  <p:clrMapOvr>
    <a:overrideClrMapping bg1="dk1" tx1="lt1" bg2="dk2" tx2="lt2" accent1="l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 bille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E4B57B-A786-0D40-BE76-7BCC1CA0C47C}"/>
              </a:ext>
            </a:extLst>
          </p:cNvPr>
          <p:cNvSpPr>
            <a:spLocks noGrp="1"/>
          </p:cNvSpPr>
          <p:nvPr>
            <p:ph type="title" hasCustomPrompt="1"/>
          </p:nvPr>
        </p:nvSpPr>
        <p:spPr>
          <a:xfrm>
            <a:off x="417251" y="205979"/>
            <a:ext cx="8309499" cy="857250"/>
          </a:xfrm>
          <a:prstGeom prst="rect">
            <a:avLst/>
          </a:prstGeom>
          <a:effectLst/>
        </p:spPr>
        <p:txBody>
          <a:bodyPr vert="horz" wrap="square" anchor="b">
            <a:noAutofit/>
          </a:bodyPr>
          <a:lstStyle>
            <a:lvl1pPr algn="l">
              <a:defRPr sz="2400" b="0" i="0" u="none" strike="noStrike">
                <a:solidFill>
                  <a:schemeClr val="tx1"/>
                </a:solidFill>
                <a:latin typeface="Arial" panose="020B0604020202020204" pitchFamily="34" charset="0"/>
              </a:defRPr>
            </a:lvl1pPr>
          </a:lstStyle>
          <a:p>
            <a:r>
              <a:rPr lang="da-DK" dirty="0"/>
              <a:t>Skriv din overskrift her</a:t>
            </a:r>
          </a:p>
        </p:txBody>
      </p:sp>
      <p:sp>
        <p:nvSpPr>
          <p:cNvPr id="6" name="Pladsholder til slidenummer 5">
            <a:extLst>
              <a:ext uri="{FF2B5EF4-FFF2-40B4-BE49-F238E27FC236}">
                <a16:creationId xmlns:a16="http://schemas.microsoft.com/office/drawing/2014/main" id="{C8905E14-F182-474E-93A8-3FE816D40D9E}"/>
              </a:ext>
            </a:extLst>
          </p:cNvPr>
          <p:cNvSpPr>
            <a:spLocks noGrp="1"/>
          </p:cNvSpPr>
          <p:nvPr>
            <p:ph type="sldNum" sz="quarter" idx="12"/>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4" name="Pladsholder til billede 3">
            <a:extLst>
              <a:ext uri="{FF2B5EF4-FFF2-40B4-BE49-F238E27FC236}">
                <a16:creationId xmlns:a16="http://schemas.microsoft.com/office/drawing/2014/main" id="{D459E6FC-7CF0-C64B-A057-83887544FD56}"/>
              </a:ext>
            </a:extLst>
          </p:cNvPr>
          <p:cNvSpPr>
            <a:spLocks noGrp="1"/>
          </p:cNvSpPr>
          <p:nvPr>
            <p:ph type="pic" sz="quarter" idx="17" hasCustomPrompt="1"/>
          </p:nvPr>
        </p:nvSpPr>
        <p:spPr>
          <a:xfrm>
            <a:off x="417250" y="1188505"/>
            <a:ext cx="2642521" cy="2042788"/>
          </a:xfrm>
          <a:pattFill prst="pct30">
            <a:fgClr>
              <a:schemeClr val="accent1">
                <a:lumMod val="100000"/>
              </a:schemeClr>
            </a:fgClr>
            <a:bgClr>
              <a:schemeClr val="bg1">
                <a:lumMod val="100000"/>
              </a:schemeClr>
            </a:bgClr>
          </a:pattFill>
          <a:effectLst/>
        </p:spPr>
        <p:txBody>
          <a:bodyPr vert="horz" wrap="square" tIns="612000" anchor="ctr" anchorCtr="0">
            <a:normAutofit/>
          </a:bodyPr>
          <a:lstStyle>
            <a:lvl1pPr marL="307002" indent="-307002" algn="ctr">
              <a:buNone/>
              <a:defRPr sz="1050" b="0" i="0" u="none" strike="noStrike">
                <a:solidFill>
                  <a:schemeClr val="tx1">
                    <a:lumMod val="100000"/>
                  </a:schemeClr>
                </a:solidFill>
                <a:latin typeface="Arial" panose="020B0604020202020204" pitchFamily="34" charset="0"/>
              </a:defRPr>
            </a:lvl1pPr>
          </a:lstStyle>
          <a:p>
            <a:r>
              <a:rPr lang="da-DK" dirty="0"/>
              <a:t>Klik på ikonet for at tilføje billede</a:t>
            </a:r>
          </a:p>
        </p:txBody>
      </p:sp>
      <p:sp>
        <p:nvSpPr>
          <p:cNvPr id="9" name="Pladsholder til billede 3">
            <a:extLst>
              <a:ext uri="{FF2B5EF4-FFF2-40B4-BE49-F238E27FC236}">
                <a16:creationId xmlns:a16="http://schemas.microsoft.com/office/drawing/2014/main" id="{9279C7BC-4BFA-2D47-B0D3-F5A629B92898}"/>
              </a:ext>
            </a:extLst>
          </p:cNvPr>
          <p:cNvSpPr>
            <a:spLocks noGrp="1"/>
          </p:cNvSpPr>
          <p:nvPr>
            <p:ph type="pic" sz="quarter" idx="18" hasCustomPrompt="1"/>
          </p:nvPr>
        </p:nvSpPr>
        <p:spPr>
          <a:xfrm>
            <a:off x="3250739" y="1188505"/>
            <a:ext cx="2642521" cy="2042788"/>
          </a:xfrm>
          <a:pattFill prst="pct30">
            <a:fgClr>
              <a:schemeClr val="accent1">
                <a:lumMod val="100000"/>
              </a:schemeClr>
            </a:fgClr>
            <a:bgClr>
              <a:schemeClr val="bg1">
                <a:lumMod val="100000"/>
              </a:schemeClr>
            </a:bgClr>
          </a:pattFill>
          <a:effectLst/>
        </p:spPr>
        <p:txBody>
          <a:bodyPr tIns="612000" anchor="ctr" anchorCtr="0"/>
          <a:lstStyle>
            <a:lvl1pPr marL="0" indent="0" algn="ctr">
              <a:buNone/>
              <a:defRPr sz="1050"/>
            </a:lvl1pPr>
          </a:lstStyle>
          <a:p>
            <a:r>
              <a:rPr lang="da-DK" dirty="0"/>
              <a:t>Klik på ikonet for at tilføje billede</a:t>
            </a:r>
          </a:p>
        </p:txBody>
      </p:sp>
      <p:sp>
        <p:nvSpPr>
          <p:cNvPr id="13" name="Pladsholder til billede 3">
            <a:extLst>
              <a:ext uri="{FF2B5EF4-FFF2-40B4-BE49-F238E27FC236}">
                <a16:creationId xmlns:a16="http://schemas.microsoft.com/office/drawing/2014/main" id="{4B96C06C-8C62-BE40-8C38-000999CD57E3}"/>
              </a:ext>
            </a:extLst>
          </p:cNvPr>
          <p:cNvSpPr>
            <a:spLocks noGrp="1"/>
          </p:cNvSpPr>
          <p:nvPr>
            <p:ph type="pic" sz="quarter" idx="19" hasCustomPrompt="1"/>
          </p:nvPr>
        </p:nvSpPr>
        <p:spPr>
          <a:xfrm>
            <a:off x="6084228" y="1188505"/>
            <a:ext cx="2642521" cy="2042788"/>
          </a:xfrm>
          <a:pattFill prst="pct30">
            <a:fgClr>
              <a:schemeClr val="accent1">
                <a:lumMod val="100000"/>
              </a:schemeClr>
            </a:fgClr>
            <a:bgClr>
              <a:schemeClr val="bg1">
                <a:lumMod val="100000"/>
              </a:schemeClr>
            </a:bgClr>
          </a:pattFill>
          <a:effectLst/>
        </p:spPr>
        <p:txBody>
          <a:bodyPr tIns="612000" anchor="ctr" anchorCtr="0"/>
          <a:lstStyle>
            <a:lvl1pPr marL="0" indent="0" algn="ctr">
              <a:buNone/>
              <a:defRPr sz="1050"/>
            </a:lvl1pPr>
          </a:lstStyle>
          <a:p>
            <a:r>
              <a:rPr lang="da-DK" dirty="0"/>
              <a:t>Klik på ikonet for at tilføje billede</a:t>
            </a:r>
          </a:p>
        </p:txBody>
      </p:sp>
      <p:sp>
        <p:nvSpPr>
          <p:cNvPr id="7" name="Pladsholder til tekst 6">
            <a:extLst>
              <a:ext uri="{FF2B5EF4-FFF2-40B4-BE49-F238E27FC236}">
                <a16:creationId xmlns:a16="http://schemas.microsoft.com/office/drawing/2014/main" id="{EB06C401-DB06-B14D-8A19-7EF70ED46B61}"/>
              </a:ext>
            </a:extLst>
          </p:cNvPr>
          <p:cNvSpPr>
            <a:spLocks noGrp="1"/>
          </p:cNvSpPr>
          <p:nvPr>
            <p:ph type="body" sz="quarter" idx="20" hasCustomPrompt="1"/>
          </p:nvPr>
        </p:nvSpPr>
        <p:spPr>
          <a:xfrm>
            <a:off x="417250" y="3236627"/>
            <a:ext cx="2636473" cy="339887"/>
          </a:xfrm>
        </p:spPr>
        <p:txBody>
          <a:bodyPr wrap="square" tIns="108000">
            <a:spAutoFit/>
          </a:bodyPr>
          <a:lstStyle>
            <a:lvl1pPr marL="0" indent="0">
              <a:lnSpc>
                <a:spcPct val="100000"/>
              </a:lnSpc>
              <a:buNone/>
              <a:defRPr sz="1200"/>
            </a:lvl1pPr>
            <a:lvl2pPr marL="342900" indent="0">
              <a:buNone/>
              <a:defRPr/>
            </a:lvl2pPr>
            <a:lvl4pPr marL="1028700" indent="0">
              <a:buNone/>
              <a:defRPr/>
            </a:lvl4pPr>
            <a:lvl5pPr marL="1371600" indent="0">
              <a:buNone/>
              <a:defRPr/>
            </a:lvl5pPr>
          </a:lstStyle>
          <a:p>
            <a:pPr lvl="0"/>
            <a:r>
              <a:rPr lang="da-DK" dirty="0"/>
              <a:t>Skriv din billedtekst her</a:t>
            </a:r>
          </a:p>
        </p:txBody>
      </p:sp>
      <p:sp>
        <p:nvSpPr>
          <p:cNvPr id="16" name="Pladsholder til tekst 6">
            <a:extLst>
              <a:ext uri="{FF2B5EF4-FFF2-40B4-BE49-F238E27FC236}">
                <a16:creationId xmlns:a16="http://schemas.microsoft.com/office/drawing/2014/main" id="{1BC16DC6-43BE-FB4D-8109-8528B3ADCB19}"/>
              </a:ext>
            </a:extLst>
          </p:cNvPr>
          <p:cNvSpPr>
            <a:spLocks noGrp="1"/>
          </p:cNvSpPr>
          <p:nvPr>
            <p:ph type="body" sz="quarter" idx="21" hasCustomPrompt="1"/>
          </p:nvPr>
        </p:nvSpPr>
        <p:spPr>
          <a:xfrm>
            <a:off x="3250739" y="3236627"/>
            <a:ext cx="2639497" cy="339887"/>
          </a:xfrm>
        </p:spPr>
        <p:txBody>
          <a:bodyPr wrap="square" tIns="108000">
            <a:spAutoFit/>
          </a:bodyPr>
          <a:lstStyle>
            <a:lvl1pPr marL="0" indent="0">
              <a:lnSpc>
                <a:spcPct val="100000"/>
              </a:lnSpc>
              <a:buNone/>
              <a:defRPr sz="1200"/>
            </a:lvl1pPr>
            <a:lvl2pPr marL="342900" indent="0">
              <a:buNone/>
              <a:defRPr/>
            </a:lvl2pPr>
            <a:lvl4pPr marL="1028700" indent="0">
              <a:buNone/>
              <a:defRPr/>
            </a:lvl4pPr>
            <a:lvl5pPr marL="1371600" indent="0">
              <a:buNone/>
              <a:defRPr/>
            </a:lvl5pPr>
          </a:lstStyle>
          <a:p>
            <a:pPr lvl="0"/>
            <a:r>
              <a:rPr lang="da-DK" dirty="0"/>
              <a:t>Skriv din billedtekst her</a:t>
            </a:r>
          </a:p>
        </p:txBody>
      </p:sp>
      <p:sp>
        <p:nvSpPr>
          <p:cNvPr id="17" name="Pladsholder til tekst 6">
            <a:extLst>
              <a:ext uri="{FF2B5EF4-FFF2-40B4-BE49-F238E27FC236}">
                <a16:creationId xmlns:a16="http://schemas.microsoft.com/office/drawing/2014/main" id="{BFF23C77-3A67-DC44-A22E-B63B4B4505F2}"/>
              </a:ext>
            </a:extLst>
          </p:cNvPr>
          <p:cNvSpPr>
            <a:spLocks noGrp="1"/>
          </p:cNvSpPr>
          <p:nvPr>
            <p:ph type="body" sz="quarter" idx="22" hasCustomPrompt="1"/>
          </p:nvPr>
        </p:nvSpPr>
        <p:spPr>
          <a:xfrm>
            <a:off x="6081713" y="3236627"/>
            <a:ext cx="2645036" cy="339887"/>
          </a:xfrm>
        </p:spPr>
        <p:txBody>
          <a:bodyPr wrap="square" tIns="108000">
            <a:spAutoFit/>
          </a:bodyPr>
          <a:lstStyle>
            <a:lvl1pPr marL="0" indent="0">
              <a:lnSpc>
                <a:spcPct val="100000"/>
              </a:lnSpc>
              <a:buNone/>
              <a:defRPr sz="1200"/>
            </a:lvl1pPr>
            <a:lvl2pPr marL="342900" indent="0">
              <a:buNone/>
              <a:defRPr/>
            </a:lvl2pPr>
            <a:lvl4pPr marL="1028700" indent="0">
              <a:buNone/>
              <a:defRPr/>
            </a:lvl4pPr>
            <a:lvl5pPr marL="1371600" indent="0">
              <a:buNone/>
              <a:defRPr/>
            </a:lvl5pPr>
          </a:lstStyle>
          <a:p>
            <a:pPr lvl="0"/>
            <a:r>
              <a:rPr lang="da-DK" dirty="0"/>
              <a:t>Skriv din billedtekst her</a:t>
            </a:r>
          </a:p>
        </p:txBody>
      </p:sp>
      <p:sp>
        <p:nvSpPr>
          <p:cNvPr id="3" name="Date Placeholder 2">
            <a:extLst>
              <a:ext uri="{FF2B5EF4-FFF2-40B4-BE49-F238E27FC236}">
                <a16:creationId xmlns:a16="http://schemas.microsoft.com/office/drawing/2014/main" id="{CD9F3685-BB70-4369-B01D-49444B86F048}"/>
              </a:ext>
            </a:extLst>
          </p:cNvPr>
          <p:cNvSpPr>
            <a:spLocks noGrp="1"/>
          </p:cNvSpPr>
          <p:nvPr>
            <p:ph type="dt" sz="half" idx="23"/>
          </p:nvPr>
        </p:nvSpPr>
        <p:spPr>
          <a:xfrm>
            <a:off x="6790135" y="4811317"/>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280C0E29-32B1-473E-AE79-0A9C3C889886}" type="datetime2">
              <a:rPr lang="da-DK" smtClean="0"/>
              <a:t>17. september 2025</a:t>
            </a:fld>
            <a:endParaRPr lang="da-DK" dirty="0"/>
          </a:p>
        </p:txBody>
      </p:sp>
      <p:sp>
        <p:nvSpPr>
          <p:cNvPr id="5" name="Footer Placeholder 4">
            <a:extLst>
              <a:ext uri="{FF2B5EF4-FFF2-40B4-BE49-F238E27FC236}">
                <a16:creationId xmlns:a16="http://schemas.microsoft.com/office/drawing/2014/main" id="{EA053AA3-3C18-4D9C-8F13-3E35C2C32059}"/>
              </a:ext>
            </a:extLst>
          </p:cNvPr>
          <p:cNvSpPr>
            <a:spLocks noGrp="1"/>
          </p:cNvSpPr>
          <p:nvPr>
            <p:ph type="ftr" sz="quarter" idx="24"/>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lumMod val="100000"/>
                  </a:schemeClr>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Tree>
    <p:extLst>
      <p:ext uri="{BB962C8B-B14F-4D97-AF65-F5344CB8AC3E}">
        <p14:creationId xmlns:p14="http://schemas.microsoft.com/office/powerpoint/2010/main" val="32967801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 billeder_blå">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15B5E5E-E4A1-215E-DF68-AF4D44CC74E1}"/>
              </a:ext>
            </a:extLst>
          </p:cNvPr>
          <p:cNvSpPr/>
          <p:nvPr userDrawn="1"/>
        </p:nvSpPr>
        <p:spPr bwMode="white">
          <a:xfrm>
            <a:off x="0" y="0"/>
            <a:ext cx="9144000" cy="5143500"/>
          </a:xfrm>
          <a:prstGeom prst="rect">
            <a:avLst/>
          </a:prstGeom>
          <a:solidFill>
            <a:srgbClr val="1E6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 name="Titel 1">
            <a:extLst>
              <a:ext uri="{FF2B5EF4-FFF2-40B4-BE49-F238E27FC236}">
                <a16:creationId xmlns:a16="http://schemas.microsoft.com/office/drawing/2014/main" id="{46E4B57B-A786-0D40-BE76-7BCC1CA0C47C}"/>
              </a:ext>
            </a:extLst>
          </p:cNvPr>
          <p:cNvSpPr>
            <a:spLocks noGrp="1"/>
          </p:cNvSpPr>
          <p:nvPr>
            <p:ph type="title" hasCustomPrompt="1"/>
          </p:nvPr>
        </p:nvSpPr>
        <p:spPr>
          <a:xfrm>
            <a:off x="417251" y="205979"/>
            <a:ext cx="8309499" cy="857250"/>
          </a:xfrm>
          <a:prstGeom prst="rect">
            <a:avLst/>
          </a:prstGeom>
          <a:effectLst/>
        </p:spPr>
        <p:txBody>
          <a:bodyPr vert="horz" wrap="square" anchor="b">
            <a:noAutofit/>
          </a:bodyPr>
          <a:lstStyle>
            <a:lvl1pPr algn="l">
              <a:defRPr sz="2400" b="0" i="0" u="none" strike="noStrike">
                <a:solidFill>
                  <a:schemeClr val="tx1"/>
                </a:solidFill>
                <a:latin typeface="Arial" panose="020B0604020202020204" pitchFamily="34" charset="0"/>
              </a:defRPr>
            </a:lvl1pPr>
          </a:lstStyle>
          <a:p>
            <a:r>
              <a:rPr lang="da-DK" dirty="0"/>
              <a:t>Skriv din overskrift her</a:t>
            </a:r>
          </a:p>
        </p:txBody>
      </p:sp>
      <p:sp>
        <p:nvSpPr>
          <p:cNvPr id="4" name="Pladsholder til billede 3">
            <a:extLst>
              <a:ext uri="{FF2B5EF4-FFF2-40B4-BE49-F238E27FC236}">
                <a16:creationId xmlns:a16="http://schemas.microsoft.com/office/drawing/2014/main" id="{D459E6FC-7CF0-C64B-A057-83887544FD56}"/>
              </a:ext>
            </a:extLst>
          </p:cNvPr>
          <p:cNvSpPr>
            <a:spLocks noGrp="1"/>
          </p:cNvSpPr>
          <p:nvPr>
            <p:ph type="pic" sz="quarter" idx="17" hasCustomPrompt="1"/>
          </p:nvPr>
        </p:nvSpPr>
        <p:spPr>
          <a:xfrm>
            <a:off x="417250" y="1188505"/>
            <a:ext cx="2642521" cy="2042788"/>
          </a:xfrm>
          <a:pattFill prst="pct30">
            <a:fgClr>
              <a:schemeClr val="accent1">
                <a:lumMod val="100000"/>
              </a:schemeClr>
            </a:fgClr>
            <a:bgClr>
              <a:schemeClr val="tx1"/>
            </a:bgClr>
          </a:pattFill>
          <a:effectLst/>
        </p:spPr>
        <p:txBody>
          <a:bodyPr vert="horz" wrap="square" tIns="612000" anchor="ctr" anchorCtr="0">
            <a:normAutofit/>
          </a:bodyPr>
          <a:lstStyle>
            <a:lvl1pPr marL="307002" indent="-307002" algn="ctr">
              <a:buNone/>
              <a:defRPr sz="1050" b="0" i="0" u="none" strike="noStrike">
                <a:solidFill>
                  <a:schemeClr val="tx1">
                    <a:lumMod val="100000"/>
                  </a:schemeClr>
                </a:solidFill>
                <a:latin typeface="Arial" panose="020B0604020202020204" pitchFamily="34" charset="0"/>
              </a:defRPr>
            </a:lvl1pPr>
          </a:lstStyle>
          <a:p>
            <a:r>
              <a:rPr lang="da-DK" dirty="0"/>
              <a:t>Klikpåikonet for at tilføjebillede</a:t>
            </a:r>
          </a:p>
        </p:txBody>
      </p:sp>
      <p:sp>
        <p:nvSpPr>
          <p:cNvPr id="9" name="Pladsholder til billede 3">
            <a:extLst>
              <a:ext uri="{FF2B5EF4-FFF2-40B4-BE49-F238E27FC236}">
                <a16:creationId xmlns:a16="http://schemas.microsoft.com/office/drawing/2014/main" id="{9279C7BC-4BFA-2D47-B0D3-F5A629B92898}"/>
              </a:ext>
            </a:extLst>
          </p:cNvPr>
          <p:cNvSpPr>
            <a:spLocks noGrp="1"/>
          </p:cNvSpPr>
          <p:nvPr>
            <p:ph type="pic" sz="quarter" idx="18" hasCustomPrompt="1"/>
          </p:nvPr>
        </p:nvSpPr>
        <p:spPr>
          <a:xfrm>
            <a:off x="3250739" y="1188505"/>
            <a:ext cx="2642521" cy="2042788"/>
          </a:xfrm>
          <a:pattFill prst="pct30">
            <a:fgClr>
              <a:schemeClr val="accent1">
                <a:lumMod val="100000"/>
              </a:schemeClr>
            </a:fgClr>
            <a:bgClr>
              <a:schemeClr val="tx1"/>
            </a:bgClr>
          </a:pattFill>
          <a:effectLst/>
        </p:spPr>
        <p:txBody>
          <a:bodyPr tIns="612000" anchor="ctr" anchorCtr="0"/>
          <a:lstStyle>
            <a:lvl1pPr marL="0" indent="0" algn="ctr">
              <a:buNone/>
              <a:defRPr sz="1050"/>
            </a:lvl1pPr>
          </a:lstStyle>
          <a:p>
            <a:r>
              <a:rPr lang="da-DK" dirty="0"/>
              <a:t>Klikpåikonet for at tilføjebillede</a:t>
            </a:r>
          </a:p>
        </p:txBody>
      </p:sp>
      <p:sp>
        <p:nvSpPr>
          <p:cNvPr id="13" name="Pladsholder til billede 3">
            <a:extLst>
              <a:ext uri="{FF2B5EF4-FFF2-40B4-BE49-F238E27FC236}">
                <a16:creationId xmlns:a16="http://schemas.microsoft.com/office/drawing/2014/main" id="{4B96C06C-8C62-BE40-8C38-000999CD57E3}"/>
              </a:ext>
            </a:extLst>
          </p:cNvPr>
          <p:cNvSpPr>
            <a:spLocks noGrp="1"/>
          </p:cNvSpPr>
          <p:nvPr>
            <p:ph type="pic" sz="quarter" idx="19" hasCustomPrompt="1"/>
          </p:nvPr>
        </p:nvSpPr>
        <p:spPr>
          <a:xfrm>
            <a:off x="6084228" y="1188505"/>
            <a:ext cx="2642521" cy="2042788"/>
          </a:xfrm>
          <a:pattFill prst="pct30">
            <a:fgClr>
              <a:schemeClr val="accent1">
                <a:lumMod val="100000"/>
              </a:schemeClr>
            </a:fgClr>
            <a:bgClr>
              <a:schemeClr val="tx1"/>
            </a:bgClr>
          </a:pattFill>
          <a:effectLst/>
        </p:spPr>
        <p:txBody>
          <a:bodyPr tIns="612000" anchor="ctr" anchorCtr="0"/>
          <a:lstStyle>
            <a:lvl1pPr marL="0" indent="0" algn="ctr">
              <a:buNone/>
              <a:defRPr sz="1050"/>
            </a:lvl1pPr>
          </a:lstStyle>
          <a:p>
            <a:r>
              <a:rPr lang="da-DK" dirty="0"/>
              <a:t>Klikpåikonet for at tilføjebillede</a:t>
            </a:r>
          </a:p>
        </p:txBody>
      </p:sp>
      <p:sp>
        <p:nvSpPr>
          <p:cNvPr id="7" name="Pladsholder til tekst 6">
            <a:extLst>
              <a:ext uri="{FF2B5EF4-FFF2-40B4-BE49-F238E27FC236}">
                <a16:creationId xmlns:a16="http://schemas.microsoft.com/office/drawing/2014/main" id="{EB06C401-DB06-B14D-8A19-7EF70ED46B61}"/>
              </a:ext>
            </a:extLst>
          </p:cNvPr>
          <p:cNvSpPr>
            <a:spLocks noGrp="1"/>
          </p:cNvSpPr>
          <p:nvPr>
            <p:ph type="body" sz="quarter" idx="20" hasCustomPrompt="1"/>
          </p:nvPr>
        </p:nvSpPr>
        <p:spPr>
          <a:xfrm>
            <a:off x="417250" y="3236627"/>
            <a:ext cx="2636473" cy="339887"/>
          </a:xfrm>
        </p:spPr>
        <p:txBody>
          <a:bodyPr wrap="square" tIns="108000">
            <a:spAutoFit/>
          </a:bodyPr>
          <a:lstStyle>
            <a:lvl1pPr marL="0" indent="0">
              <a:lnSpc>
                <a:spcPct val="100000"/>
              </a:lnSpc>
              <a:buNone/>
              <a:defRPr sz="1200">
                <a:solidFill>
                  <a:schemeClr val="tx1"/>
                </a:solidFill>
              </a:defRPr>
            </a:lvl1pPr>
            <a:lvl2pPr marL="342900" indent="0">
              <a:buNone/>
              <a:defRPr/>
            </a:lvl2pPr>
            <a:lvl4pPr marL="1028700" indent="0">
              <a:buNone/>
              <a:defRPr/>
            </a:lvl4pPr>
            <a:lvl5pPr marL="1371600" indent="0">
              <a:buNone/>
              <a:defRPr/>
            </a:lvl5pPr>
          </a:lstStyle>
          <a:p>
            <a:pPr lvl="0"/>
            <a:r>
              <a:rPr lang="da-DK" dirty="0"/>
              <a:t>Skriv din billedtekst her</a:t>
            </a:r>
          </a:p>
        </p:txBody>
      </p:sp>
      <p:sp>
        <p:nvSpPr>
          <p:cNvPr id="16" name="Pladsholder til tekst 6">
            <a:extLst>
              <a:ext uri="{FF2B5EF4-FFF2-40B4-BE49-F238E27FC236}">
                <a16:creationId xmlns:a16="http://schemas.microsoft.com/office/drawing/2014/main" id="{1BC16DC6-43BE-FB4D-8109-8528B3ADCB19}"/>
              </a:ext>
            </a:extLst>
          </p:cNvPr>
          <p:cNvSpPr>
            <a:spLocks noGrp="1"/>
          </p:cNvSpPr>
          <p:nvPr>
            <p:ph type="body" sz="quarter" idx="21" hasCustomPrompt="1"/>
          </p:nvPr>
        </p:nvSpPr>
        <p:spPr>
          <a:xfrm>
            <a:off x="3250739" y="3236627"/>
            <a:ext cx="2639497" cy="339887"/>
          </a:xfrm>
        </p:spPr>
        <p:txBody>
          <a:bodyPr wrap="square" tIns="108000">
            <a:spAutoFit/>
          </a:bodyPr>
          <a:lstStyle>
            <a:lvl1pPr marL="0" indent="0">
              <a:lnSpc>
                <a:spcPct val="100000"/>
              </a:lnSpc>
              <a:buNone/>
              <a:defRPr sz="1200">
                <a:solidFill>
                  <a:schemeClr val="tx1"/>
                </a:solidFill>
              </a:defRPr>
            </a:lvl1pPr>
            <a:lvl2pPr marL="342900" indent="0">
              <a:buNone/>
              <a:defRPr/>
            </a:lvl2pPr>
            <a:lvl4pPr marL="1028700" indent="0">
              <a:buNone/>
              <a:defRPr/>
            </a:lvl4pPr>
            <a:lvl5pPr marL="1371600" indent="0">
              <a:buNone/>
              <a:defRPr/>
            </a:lvl5pPr>
          </a:lstStyle>
          <a:p>
            <a:pPr lvl="0"/>
            <a:r>
              <a:rPr lang="da-DK" dirty="0"/>
              <a:t>Skriv din billedtekst her</a:t>
            </a:r>
          </a:p>
        </p:txBody>
      </p:sp>
      <p:sp>
        <p:nvSpPr>
          <p:cNvPr id="17" name="Pladsholder til tekst 6">
            <a:extLst>
              <a:ext uri="{FF2B5EF4-FFF2-40B4-BE49-F238E27FC236}">
                <a16:creationId xmlns:a16="http://schemas.microsoft.com/office/drawing/2014/main" id="{BFF23C77-3A67-DC44-A22E-B63B4B4505F2}"/>
              </a:ext>
            </a:extLst>
          </p:cNvPr>
          <p:cNvSpPr>
            <a:spLocks noGrp="1"/>
          </p:cNvSpPr>
          <p:nvPr>
            <p:ph type="body" sz="quarter" idx="22" hasCustomPrompt="1"/>
          </p:nvPr>
        </p:nvSpPr>
        <p:spPr>
          <a:xfrm>
            <a:off x="6081713" y="3236627"/>
            <a:ext cx="2645036" cy="339887"/>
          </a:xfrm>
        </p:spPr>
        <p:txBody>
          <a:bodyPr wrap="square" tIns="108000">
            <a:spAutoFit/>
          </a:bodyPr>
          <a:lstStyle>
            <a:lvl1pPr marL="0" indent="0">
              <a:lnSpc>
                <a:spcPct val="100000"/>
              </a:lnSpc>
              <a:buNone/>
              <a:defRPr sz="1200">
                <a:solidFill>
                  <a:schemeClr val="tx1"/>
                </a:solidFill>
              </a:defRPr>
            </a:lvl1pPr>
            <a:lvl2pPr marL="342900" indent="0">
              <a:buNone/>
              <a:defRPr/>
            </a:lvl2pPr>
            <a:lvl4pPr marL="1028700" indent="0">
              <a:buNone/>
              <a:defRPr/>
            </a:lvl4pPr>
            <a:lvl5pPr marL="1371600" indent="0">
              <a:buNone/>
              <a:defRPr/>
            </a:lvl5pPr>
          </a:lstStyle>
          <a:p>
            <a:pPr lvl="0"/>
            <a:r>
              <a:rPr lang="da-DK" dirty="0"/>
              <a:t>Skriv din billedtekst her</a:t>
            </a:r>
          </a:p>
        </p:txBody>
      </p:sp>
      <p:sp>
        <p:nvSpPr>
          <p:cNvPr id="3" name="Date Placeholder 2">
            <a:extLst>
              <a:ext uri="{FF2B5EF4-FFF2-40B4-BE49-F238E27FC236}">
                <a16:creationId xmlns:a16="http://schemas.microsoft.com/office/drawing/2014/main" id="{CD9F3685-BB70-4369-B01D-49444B86F048}"/>
              </a:ext>
            </a:extLst>
          </p:cNvPr>
          <p:cNvSpPr>
            <a:spLocks noGrp="1"/>
          </p:cNvSpPr>
          <p:nvPr>
            <p:ph type="dt" sz="half" idx="23"/>
          </p:nvPr>
        </p:nvSpPr>
        <p:spPr>
          <a:xfrm>
            <a:off x="6790135" y="4811317"/>
            <a:ext cx="1418034" cy="13366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lang="da-DK" sz="600" b="0" i="0" u="none" strike="noStrike" kern="1200" smtClean="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0B478283-B46C-4DA2-A28D-7425FF4D795A}" type="datetime2">
              <a:rPr lang="da-DK" smtClean="0"/>
              <a:t>17. september 2025</a:t>
            </a:fld>
            <a:endParaRPr lang="da-DK" dirty="0"/>
          </a:p>
        </p:txBody>
      </p:sp>
      <p:sp>
        <p:nvSpPr>
          <p:cNvPr id="6" name="Pladsholder til slidenummer 5">
            <a:extLst>
              <a:ext uri="{FF2B5EF4-FFF2-40B4-BE49-F238E27FC236}">
                <a16:creationId xmlns:a16="http://schemas.microsoft.com/office/drawing/2014/main" id="{C8905E14-F182-474E-93A8-3FE816D40D9E}"/>
              </a:ext>
            </a:extLst>
          </p:cNvPr>
          <p:cNvSpPr>
            <a:spLocks noGrp="1"/>
          </p:cNvSpPr>
          <p:nvPr>
            <p:ph type="sldNum" sz="quarter" idx="12"/>
          </p:nvPr>
        </p:nvSpPr>
        <p:spPr>
          <a:xfrm>
            <a:off x="8435044" y="4809976"/>
            <a:ext cx="297000" cy="135000"/>
          </a:xfrm>
          <a:prstGeom prst="rect">
            <a:avLst/>
          </a:prstGeom>
          <a:effectLst/>
        </p:spPr>
        <p:txBody>
          <a:bodyPr vert="horz" wrap="square" lIns="0" tIns="0" rIns="0" bIns="0" rtlCol="0" anchor="ctr" anchorCtr="0">
            <a:noAutofit/>
          </a:bodyPr>
          <a:lstStyle>
            <a:defPPr>
              <a:defRPr lang="da-DK"/>
            </a:defPPr>
            <a:lvl1pPr marL="0" algn="r" defTabSz="685800" rtl="0" eaLnBrk="1" latinLnBrk="0" hangingPunct="1">
              <a:defRPr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775A5DD-FF4A-C640-9697-BCFBBB042A9E}" type="slidenum">
              <a:rPr lang="da-DK" smtClean="0"/>
              <a:pPr/>
              <a:t>‹nr.›</a:t>
            </a:fld>
            <a:endParaRPr lang="da-DK" dirty="0"/>
          </a:p>
        </p:txBody>
      </p:sp>
      <p:sp>
        <p:nvSpPr>
          <p:cNvPr id="5" name="Footer Placeholder 4">
            <a:extLst>
              <a:ext uri="{FF2B5EF4-FFF2-40B4-BE49-F238E27FC236}">
                <a16:creationId xmlns:a16="http://schemas.microsoft.com/office/drawing/2014/main" id="{EA053AA3-3C18-4D9C-8F13-3E35C2C32059}"/>
              </a:ext>
            </a:extLst>
          </p:cNvPr>
          <p:cNvSpPr>
            <a:spLocks noGrp="1"/>
          </p:cNvSpPr>
          <p:nvPr>
            <p:ph type="ftr" sz="quarter" idx="24"/>
          </p:nvPr>
        </p:nvSpPr>
        <p:spPr>
          <a:xfrm>
            <a:off x="411956" y="4811316"/>
            <a:ext cx="2834879" cy="135000"/>
          </a:xfrm>
          <a:prstGeom prst="rect">
            <a:avLst/>
          </a:prstGeom>
          <a:effectLst/>
        </p:spPr>
        <p:txBody>
          <a:bodyPr vert="horz" wrap="square" lIns="0" tIns="0" rIns="0" bIns="0" rtlCol="0" anchor="ctr" anchorCtr="0">
            <a:noAutofit/>
          </a:bodyPr>
          <a:lstStyle>
            <a:defPPr>
              <a:defRPr lang="da-DK"/>
            </a:defPPr>
            <a:lvl1pPr marL="0" algn="l" defTabSz="685800" rtl="0" eaLnBrk="1" latinLnBrk="0" hangingPunct="1">
              <a:defRPr lang="da-DK" sz="600" b="0" i="0" u="none" strike="noStrike"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a-DK" dirty="0"/>
              <a:t>Klimadatastyrelsen </a:t>
            </a:r>
          </a:p>
        </p:txBody>
      </p:sp>
    </p:spTree>
    <p:extLst>
      <p:ext uri="{BB962C8B-B14F-4D97-AF65-F5344CB8AC3E}">
        <p14:creationId xmlns:p14="http://schemas.microsoft.com/office/powerpoint/2010/main" val="1988967896"/>
      </p:ext>
    </p:extLst>
  </p:cSld>
  <p:clrMapOvr>
    <a:overrideClrMapping bg1="dk1" tx1="lt1" bg2="dk2" tx2="lt2" accent1="l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DFI_Helsidebillede">
    <p:spTree>
      <p:nvGrpSpPr>
        <p:cNvPr id="1" name=""/>
        <p:cNvGrpSpPr/>
        <p:nvPr/>
      </p:nvGrpSpPr>
      <p:grpSpPr>
        <a:xfrm>
          <a:off x="0" y="0"/>
          <a:ext cx="0" cy="0"/>
          <a:chOff x="0" y="0"/>
          <a:chExt cx="0" cy="0"/>
        </a:xfrm>
      </p:grpSpPr>
      <p:sp>
        <p:nvSpPr>
          <p:cNvPr id="4" name="Pladsholder til billede 12"/>
          <p:cNvSpPr>
            <a:spLocks noGrp="1"/>
          </p:cNvSpPr>
          <p:nvPr>
            <p:ph type="pic" sz="quarter" idx="13" hasCustomPrompt="1"/>
          </p:nvPr>
        </p:nvSpPr>
        <p:spPr>
          <a:xfrm>
            <a:off x="0" y="0"/>
            <a:ext cx="9144000" cy="5143500"/>
          </a:xfrm>
          <a:prstGeom prst="rect">
            <a:avLst/>
          </a:prstGeom>
          <a:pattFill prst="pct30">
            <a:fgClr>
              <a:schemeClr val="accent1"/>
            </a:fgClr>
            <a:bgClr>
              <a:schemeClr val="bg1"/>
            </a:bgClr>
          </a:pattFill>
        </p:spPr>
        <p:txBody>
          <a:bodyPr tIns="792000" anchor="ctr">
            <a:normAutofit/>
          </a:bodyPr>
          <a:lstStyle>
            <a:lvl1pPr marL="0" indent="0" algn="ctr">
              <a:buNone/>
              <a:defRPr sz="1400"/>
            </a:lvl1pPr>
          </a:lstStyle>
          <a:p>
            <a:r>
              <a:rPr lang="da-DK" dirty="0"/>
              <a:t>Klik på ikonet for at tilføje billede</a:t>
            </a:r>
          </a:p>
        </p:txBody>
      </p:sp>
      <p:sp>
        <p:nvSpPr>
          <p:cNvPr id="2" name="Date Placeholder 1">
            <a:extLst>
              <a:ext uri="{FF2B5EF4-FFF2-40B4-BE49-F238E27FC236}">
                <a16:creationId xmlns:a16="http://schemas.microsoft.com/office/drawing/2014/main" id="{9F58829D-A249-FBFD-BEEA-6052A49D2E8B}"/>
              </a:ext>
            </a:extLst>
          </p:cNvPr>
          <p:cNvSpPr>
            <a:spLocks noGrp="1"/>
          </p:cNvSpPr>
          <p:nvPr>
            <p:ph type="dt" sz="half" idx="14"/>
          </p:nvPr>
        </p:nvSpPr>
        <p:spPr/>
        <p:txBody>
          <a:bodyPr/>
          <a:lstStyle/>
          <a:p>
            <a:fld id="{3306E8CC-ACEE-40B2-B476-BD2DB458F24C}" type="datetime2">
              <a:rPr lang="da-DK" smtClean="0"/>
              <a:t>17. september 2025</a:t>
            </a:fld>
            <a:r>
              <a:rPr lang="da-DK" dirty="0"/>
              <a:t> </a:t>
            </a:r>
          </a:p>
        </p:txBody>
      </p:sp>
      <p:sp>
        <p:nvSpPr>
          <p:cNvPr id="3" name="Footer Placeholder 2">
            <a:extLst>
              <a:ext uri="{FF2B5EF4-FFF2-40B4-BE49-F238E27FC236}">
                <a16:creationId xmlns:a16="http://schemas.microsoft.com/office/drawing/2014/main" id="{91DCE0A4-6BF9-5771-BD16-F9FB1DD4F304}"/>
              </a:ext>
            </a:extLst>
          </p:cNvPr>
          <p:cNvSpPr>
            <a:spLocks noGrp="1"/>
          </p:cNvSpPr>
          <p:nvPr>
            <p:ph type="ftr" sz="quarter" idx="15"/>
          </p:nvPr>
        </p:nvSpPr>
        <p:spPr/>
        <p:txBody>
          <a:bodyPr/>
          <a:lstStyle/>
          <a:p>
            <a:r>
              <a:rPr lang="da-DK" dirty="0"/>
              <a:t>Klimadatastyrelsen </a:t>
            </a:r>
          </a:p>
        </p:txBody>
      </p:sp>
      <p:sp>
        <p:nvSpPr>
          <p:cNvPr id="5" name="Slide Number Placeholder 4">
            <a:extLst>
              <a:ext uri="{FF2B5EF4-FFF2-40B4-BE49-F238E27FC236}">
                <a16:creationId xmlns:a16="http://schemas.microsoft.com/office/drawing/2014/main" id="{96A85CDB-B72F-5766-EF67-18F447F8BB4B}"/>
              </a:ext>
            </a:extLst>
          </p:cNvPr>
          <p:cNvSpPr>
            <a:spLocks noGrp="1"/>
          </p:cNvSpPr>
          <p:nvPr>
            <p:ph type="sldNum" sz="quarter" idx="16"/>
          </p:nvPr>
        </p:nvSpPr>
        <p:spPr/>
        <p:txBody>
          <a:bodyPr/>
          <a:lstStyle/>
          <a:p>
            <a:fld id="{27069E6C-1A00-4921-95F4-578604732DF4}" type="slidenum">
              <a:rPr lang="da-DK" smtClean="0"/>
              <a:pPr/>
              <a:t>‹nr.›</a:t>
            </a:fld>
            <a:endParaRPr lang="da-DK" dirty="0"/>
          </a:p>
        </p:txBody>
      </p:sp>
    </p:spTree>
    <p:extLst>
      <p:ext uri="{BB962C8B-B14F-4D97-AF65-F5344CB8AC3E}">
        <p14:creationId xmlns:p14="http://schemas.microsoft.com/office/powerpoint/2010/main" val="4105431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SDFI_fire faktacirkler">
    <p:spTree>
      <p:nvGrpSpPr>
        <p:cNvPr id="1" name=""/>
        <p:cNvGrpSpPr/>
        <p:nvPr/>
      </p:nvGrpSpPr>
      <p:grpSpPr>
        <a:xfrm>
          <a:off x="0" y="0"/>
          <a:ext cx="0" cy="0"/>
          <a:chOff x="0" y="0"/>
          <a:chExt cx="0" cy="0"/>
        </a:xfrm>
      </p:grpSpPr>
      <p:sp>
        <p:nvSpPr>
          <p:cNvPr id="4" name="Rektangel 18">
            <a:extLst>
              <a:ext uri="{FF2B5EF4-FFF2-40B4-BE49-F238E27FC236}">
                <a16:creationId xmlns:a16="http://schemas.microsoft.com/office/drawing/2014/main" id="{E5EEDB6F-7698-6A74-6DD0-07D26FB109C4}"/>
              </a:ext>
            </a:extLst>
          </p:cNvPr>
          <p:cNvSpPr/>
          <p:nvPr userDrawn="1"/>
        </p:nvSpPr>
        <p:spPr>
          <a:xfrm>
            <a:off x="6246854" y="1188244"/>
            <a:ext cx="2484000" cy="32194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l"/>
            <a:endParaRPr lang="da-DK" sz="2133" dirty="0"/>
          </a:p>
        </p:txBody>
      </p:sp>
      <p:sp>
        <p:nvSpPr>
          <p:cNvPr id="5" name="Rektangel 34">
            <a:extLst>
              <a:ext uri="{FF2B5EF4-FFF2-40B4-BE49-F238E27FC236}">
                <a16:creationId xmlns:a16="http://schemas.microsoft.com/office/drawing/2014/main" id="{1FBF6D82-1A01-57FA-D33A-7B4EF40CF91A}"/>
              </a:ext>
            </a:extLst>
          </p:cNvPr>
          <p:cNvSpPr/>
          <p:nvPr userDrawn="1"/>
        </p:nvSpPr>
        <p:spPr>
          <a:xfrm>
            <a:off x="3330000" y="1188244"/>
            <a:ext cx="2484000" cy="32194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sz="2133" dirty="0"/>
          </a:p>
        </p:txBody>
      </p:sp>
      <p:sp>
        <p:nvSpPr>
          <p:cNvPr id="3" name="Rektangel 23">
            <a:extLst>
              <a:ext uri="{FF2B5EF4-FFF2-40B4-BE49-F238E27FC236}">
                <a16:creationId xmlns:a16="http://schemas.microsoft.com/office/drawing/2014/main" id="{E4E84CB1-8F82-835E-C45C-2C5E9B7DE747}"/>
              </a:ext>
            </a:extLst>
          </p:cNvPr>
          <p:cNvSpPr/>
          <p:nvPr userDrawn="1"/>
        </p:nvSpPr>
        <p:spPr>
          <a:xfrm>
            <a:off x="417251" y="1188244"/>
            <a:ext cx="2483644" cy="32194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sz="2133" noProof="0"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bwMode="white">
          <a:xfrm>
            <a:off x="578668" y="1257936"/>
            <a:ext cx="2160809" cy="597244"/>
          </a:xfrm>
          <a:prstGeom prst="rect">
            <a:avLst/>
          </a:prstGeom>
          <a:effectLst/>
        </p:spPr>
        <p:txBody>
          <a:bodyPr vert="horz" wrap="square" anchor="b">
            <a:noAutofit/>
          </a:bodyPr>
          <a:lstStyle>
            <a:lvl1pPr marL="0" indent="0" algn="l">
              <a:buClr>
                <a:srgbClr val="FF0000"/>
              </a:buClr>
              <a:buFontTx/>
              <a:buNone/>
              <a:defRPr sz="1650" b="0" i="0" u="none" strike="noStrike" cap="none" baseline="0">
                <a:solidFill>
                  <a:schemeClr val="bg1">
                    <a:lumMod val="100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Overskrift</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bwMode="white">
          <a:xfrm>
            <a:off x="578668" y="1959954"/>
            <a:ext cx="2160809" cy="2161630"/>
          </a:xfrm>
          <a:prstGeom prst="rect">
            <a:avLst/>
          </a:prstGeom>
          <a:effectLst/>
        </p:spPr>
        <p:txBody>
          <a:bodyPr vert="horz" wrap="square" anchor="t">
            <a:noAutofit/>
          </a:bodyPr>
          <a:lstStyle>
            <a:lvl1pPr marL="0" indent="0" algn="l">
              <a:spcAft>
                <a:spcPts val="600"/>
              </a:spcAft>
              <a:buClrTx/>
              <a:buFont typeface="Arial" panose="020B0604020202020204" pitchFamily="34" charset="0"/>
              <a:buNone/>
              <a:defRPr sz="1350" b="0" i="0" u="none" strike="noStrike" baseline="0">
                <a:solidFill>
                  <a:schemeClr val="bg1">
                    <a:lumMod val="100000"/>
                  </a:schemeClr>
                </a:solidFill>
                <a:latin typeface="Arial" panose="020B0604020202020204" pitchFamily="34" charset="0"/>
                <a:cs typeface="Arial" panose="020B0604020202020204" pitchFamily="34" charset="0"/>
              </a:defRPr>
            </a:lvl1pPr>
          </a:lstStyle>
          <a:p>
            <a:pPr lvl="0"/>
            <a:r>
              <a:rPr lang="da-DK" noProof="0" dirty="0"/>
              <a:t>Tekst</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bwMode="white">
          <a:xfrm>
            <a:off x="6404346" y="1253756"/>
            <a:ext cx="2160809" cy="597244"/>
          </a:xfrm>
          <a:prstGeom prst="rect">
            <a:avLst/>
          </a:prstGeom>
          <a:effectLst/>
        </p:spPr>
        <p:txBody>
          <a:bodyPr vert="horz" wrap="square" anchor="b">
            <a:noAutofit/>
          </a:bodyPr>
          <a:lstStyle>
            <a:lvl1pPr marL="0" indent="0" algn="l">
              <a:buClr>
                <a:srgbClr val="FF0000"/>
              </a:buClr>
              <a:buFontTx/>
              <a:buNone/>
              <a:defRPr sz="1650" b="0" i="0" u="none" strike="noStrike" cap="none" baseline="0">
                <a:solidFill>
                  <a:schemeClr val="bg1">
                    <a:lumMod val="100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Overskrift</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bwMode="white">
          <a:xfrm>
            <a:off x="3491596" y="1952764"/>
            <a:ext cx="2160809" cy="2161630"/>
          </a:xfrm>
          <a:prstGeom prst="rect">
            <a:avLst/>
          </a:prstGeom>
          <a:effectLst/>
        </p:spPr>
        <p:txBody>
          <a:bodyPr vert="horz" wrap="square" anchor="t">
            <a:noAutofit/>
          </a:bodyPr>
          <a:lstStyle>
            <a:lvl1pPr marL="0" indent="0" algn="l">
              <a:spcAft>
                <a:spcPts val="600"/>
              </a:spcAft>
              <a:buClrTx/>
              <a:buFont typeface="Arial" panose="020B0604020202020204" pitchFamily="34" charset="0"/>
              <a:buNone/>
              <a:defRPr sz="1350" b="0" i="0" u="none" strike="noStrike" baseline="0">
                <a:solidFill>
                  <a:schemeClr val="bg1">
                    <a:lumMod val="100000"/>
                  </a:schemeClr>
                </a:solidFill>
                <a:latin typeface="Arial" panose="020B0604020202020204" pitchFamily="34" charset="0"/>
              </a:defRPr>
            </a:lvl1pPr>
          </a:lstStyle>
          <a:p>
            <a:pPr lvl="0"/>
            <a:r>
              <a:rPr lang="da-DK" noProof="0" dirty="0"/>
              <a:t>Tekst</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bwMode="white">
          <a:xfrm>
            <a:off x="6404346" y="1952764"/>
            <a:ext cx="2160809" cy="2161630"/>
          </a:xfrm>
          <a:prstGeom prst="rect">
            <a:avLst/>
          </a:prstGeom>
          <a:effectLst/>
        </p:spPr>
        <p:txBody>
          <a:bodyPr vert="horz" wrap="square" anchor="t">
            <a:noAutofit/>
          </a:bodyPr>
          <a:lstStyle>
            <a:lvl1pPr marL="0" indent="0" algn="l">
              <a:spcAft>
                <a:spcPts val="600"/>
              </a:spcAft>
              <a:buClrTx/>
              <a:buFont typeface="Arial" panose="020B0604020202020204" pitchFamily="34" charset="0"/>
              <a:buNone/>
              <a:defRPr sz="1350" b="0" i="0" u="none" strike="noStrike" baseline="0">
                <a:solidFill>
                  <a:schemeClr val="bg1">
                    <a:lumMod val="100000"/>
                  </a:schemeClr>
                </a:solidFill>
                <a:latin typeface="Arial" panose="020B0604020202020204" pitchFamily="34" charset="0"/>
              </a:defRPr>
            </a:lvl1pPr>
          </a:lstStyle>
          <a:p>
            <a:pPr lvl="0"/>
            <a:r>
              <a:rPr lang="da-DK" noProof="0" dirty="0"/>
              <a:t>Tekst</a:t>
            </a:r>
          </a:p>
        </p:txBody>
      </p:sp>
      <p:sp>
        <p:nvSpPr>
          <p:cNvPr id="19" name="Pladsholder til titel 1"/>
          <p:cNvSpPr>
            <a:spLocks noGrp="1"/>
          </p:cNvSpPr>
          <p:nvPr>
            <p:ph type="title" hasCustomPrompt="1"/>
          </p:nvPr>
        </p:nvSpPr>
        <p:spPr>
          <a:xfrm>
            <a:off x="417251" y="205979"/>
            <a:ext cx="8309499" cy="857250"/>
          </a:xfrm>
          <a:prstGeom prst="rect">
            <a:avLst/>
          </a:prstGeom>
        </p:spPr>
        <p:txBody>
          <a:bodyPr vert="horz" lIns="0" tIns="40934" rIns="81869" bIns="40934" rtlCol="0" anchor="ctr">
            <a:noAutofit/>
          </a:bodyPr>
          <a:lstStyle>
            <a:lvl1pPr>
              <a:defRPr sz="2400"/>
            </a:lvl1pPr>
          </a:lstStyle>
          <a:p>
            <a:r>
              <a:rPr lang="da-DK" dirty="0"/>
              <a:t>Skriv din overskrift her</a:t>
            </a:r>
            <a:endParaRPr lang="da-DK" noProof="0" dirty="0"/>
          </a:p>
        </p:txBody>
      </p:sp>
      <p:sp>
        <p:nvSpPr>
          <p:cNvPr id="6" name="Date Placeholder 5">
            <a:extLst>
              <a:ext uri="{FF2B5EF4-FFF2-40B4-BE49-F238E27FC236}">
                <a16:creationId xmlns:a16="http://schemas.microsoft.com/office/drawing/2014/main" id="{326441B1-726C-69A7-C902-15474642FA58}"/>
              </a:ext>
            </a:extLst>
          </p:cNvPr>
          <p:cNvSpPr>
            <a:spLocks noGrp="1"/>
          </p:cNvSpPr>
          <p:nvPr>
            <p:ph type="dt" sz="half" idx="34"/>
          </p:nvPr>
        </p:nvSpPr>
        <p:spPr/>
        <p:txBody>
          <a:bodyPr/>
          <a:lstStyle/>
          <a:p>
            <a:fld id="{37CB57EC-A06F-45E7-AB84-0738CEC62138}" type="datetime2">
              <a:rPr lang="da-DK" smtClean="0"/>
              <a:t>17. september 2025</a:t>
            </a:fld>
            <a:r>
              <a:rPr lang="da-DK" dirty="0"/>
              <a:t> </a:t>
            </a:r>
          </a:p>
        </p:txBody>
      </p:sp>
      <p:sp>
        <p:nvSpPr>
          <p:cNvPr id="7" name="Footer Placeholder 6">
            <a:extLst>
              <a:ext uri="{FF2B5EF4-FFF2-40B4-BE49-F238E27FC236}">
                <a16:creationId xmlns:a16="http://schemas.microsoft.com/office/drawing/2014/main" id="{F3377557-6FBC-A7B2-952E-A53968354912}"/>
              </a:ext>
            </a:extLst>
          </p:cNvPr>
          <p:cNvSpPr>
            <a:spLocks noGrp="1"/>
          </p:cNvSpPr>
          <p:nvPr>
            <p:ph type="ftr" sz="quarter" idx="35"/>
          </p:nvPr>
        </p:nvSpPr>
        <p:spPr/>
        <p:txBody>
          <a:bodyPr/>
          <a:lstStyle/>
          <a:p>
            <a:r>
              <a:rPr lang="da-DK" dirty="0"/>
              <a:t>Klimadatastyrelsen </a:t>
            </a:r>
          </a:p>
        </p:txBody>
      </p:sp>
      <p:sp>
        <p:nvSpPr>
          <p:cNvPr id="8" name="Slide Number Placeholder 7">
            <a:extLst>
              <a:ext uri="{FF2B5EF4-FFF2-40B4-BE49-F238E27FC236}">
                <a16:creationId xmlns:a16="http://schemas.microsoft.com/office/drawing/2014/main" id="{66219DD5-D414-B2BD-3310-389E93711768}"/>
              </a:ext>
            </a:extLst>
          </p:cNvPr>
          <p:cNvSpPr>
            <a:spLocks noGrp="1"/>
          </p:cNvSpPr>
          <p:nvPr>
            <p:ph type="sldNum" sz="quarter" idx="36"/>
          </p:nvPr>
        </p:nvSpPr>
        <p:spPr/>
        <p:txBody>
          <a:bodyPr/>
          <a:lstStyle/>
          <a:p>
            <a:fld id="{27069E6C-1A00-4921-95F4-578604732DF4}" type="slidenum">
              <a:rPr lang="da-DK" smtClean="0"/>
              <a:pPr/>
              <a:t>‹nr.›</a:t>
            </a:fld>
            <a:endParaRPr lang="da-DK" dirty="0"/>
          </a:p>
        </p:txBody>
      </p:sp>
      <p:sp>
        <p:nvSpPr>
          <p:cNvPr id="2" name="Pladsholder til tekst 18">
            <a:extLst>
              <a:ext uri="{FF2B5EF4-FFF2-40B4-BE49-F238E27FC236}">
                <a16:creationId xmlns:a16="http://schemas.microsoft.com/office/drawing/2014/main" id="{44B291E6-FD08-41BC-9EEE-C602B54F661A}"/>
              </a:ext>
            </a:extLst>
          </p:cNvPr>
          <p:cNvSpPr>
            <a:spLocks noGrp="1"/>
          </p:cNvSpPr>
          <p:nvPr>
            <p:ph type="body" sz="quarter" idx="37" hasCustomPrompt="1"/>
          </p:nvPr>
        </p:nvSpPr>
        <p:spPr bwMode="white">
          <a:xfrm>
            <a:off x="3491596" y="1258492"/>
            <a:ext cx="2160809" cy="597244"/>
          </a:xfrm>
          <a:prstGeom prst="rect">
            <a:avLst/>
          </a:prstGeom>
          <a:effectLst/>
        </p:spPr>
        <p:txBody>
          <a:bodyPr vert="horz" wrap="square" anchor="b">
            <a:noAutofit/>
          </a:bodyPr>
          <a:lstStyle>
            <a:lvl1pPr marL="0" indent="0" algn="l">
              <a:buClr>
                <a:srgbClr val="FF0000"/>
              </a:buClr>
              <a:buFontTx/>
              <a:buNone/>
              <a:defRPr sz="1650" b="0" i="0" u="none" strike="noStrike" cap="none" baseline="0">
                <a:solidFill>
                  <a:schemeClr val="bg1">
                    <a:lumMod val="100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Overskrift</a:t>
            </a:r>
          </a:p>
        </p:txBody>
      </p:sp>
    </p:spTree>
    <p:extLst>
      <p:ext uri="{BB962C8B-B14F-4D97-AF65-F5344CB8AC3E}">
        <p14:creationId xmlns:p14="http://schemas.microsoft.com/office/powerpoint/2010/main" val="27181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DFI_Tre faktacirkler">
    <p:spTree>
      <p:nvGrpSpPr>
        <p:cNvPr id="1" name=""/>
        <p:cNvGrpSpPr/>
        <p:nvPr/>
      </p:nvGrpSpPr>
      <p:grpSpPr>
        <a:xfrm>
          <a:off x="0" y="0"/>
          <a:ext cx="0" cy="0"/>
          <a:chOff x="0" y="0"/>
          <a:chExt cx="0" cy="0"/>
        </a:xfrm>
      </p:grpSpPr>
      <p:sp>
        <p:nvSpPr>
          <p:cNvPr id="2" name="Ellipse 1"/>
          <p:cNvSpPr>
            <a:spLocks/>
          </p:cNvSpPr>
          <p:nvPr userDrawn="1"/>
        </p:nvSpPr>
        <p:spPr>
          <a:xfrm>
            <a:off x="3593750"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20" name="Ellipse 19"/>
          <p:cNvSpPr>
            <a:spLocks/>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86482" y="1966632"/>
            <a:ext cx="1966187" cy="597244"/>
          </a:xfrm>
          <a:prstGeom prst="rect">
            <a:avLst/>
          </a:prstGeom>
          <a:effectLst/>
        </p:spPr>
        <p:txBody>
          <a:bodyPr vert="horz" wrap="square" anchor="ctr">
            <a:noAutofit/>
          </a:bodyPr>
          <a:lstStyle>
            <a:lvl1pPr marL="0" indent="0" algn="ctr">
              <a:buClr>
                <a:srgbClr val="FF0000"/>
              </a:buClr>
              <a:buFontTx/>
              <a:buNone/>
              <a:defRPr sz="1650" b="0" i="0" u="none" strike="noStrike" cap="none" baseline="0">
                <a:solidFill>
                  <a:schemeClr val="tx1">
                    <a:lumMod val="100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Overskrift</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83568" y="3377400"/>
            <a:ext cx="2160000" cy="1030294"/>
          </a:xfrm>
          <a:prstGeom prst="rect">
            <a:avLst/>
          </a:prstGeom>
          <a:effectLst/>
        </p:spPr>
        <p:txBody>
          <a:bodyPr vert="horz" wrap="square" anchor="t">
            <a:noAutofit/>
          </a:bodyPr>
          <a:lstStyle>
            <a:lvl1pPr marL="0" indent="0" algn="ctr">
              <a:spcAft>
                <a:spcPts val="600"/>
              </a:spcAft>
              <a:buClrTx/>
              <a:buFont typeface="Arial" panose="020B0604020202020204" pitchFamily="34" charset="0"/>
              <a:buNone/>
              <a:defRPr sz="1350" b="0" i="0" u="none" strike="noStrike" baseline="0">
                <a:solidFill>
                  <a:schemeClr val="tx1">
                    <a:lumMod val="100000"/>
                  </a:schemeClr>
                </a:solidFill>
                <a:latin typeface="Arial" panose="020B0604020202020204" pitchFamily="34" charset="0"/>
                <a:cs typeface="Arial" panose="020B0604020202020204" pitchFamily="34" charset="0"/>
              </a:defRPr>
            </a:lvl1pPr>
          </a:lstStyle>
          <a:p>
            <a:pPr lvl="0"/>
            <a:r>
              <a:rPr lang="da-DK" noProof="0" dirty="0"/>
              <a:t>Tekst</a:t>
            </a:r>
          </a:p>
        </p:txBody>
      </p:sp>
      <p:sp>
        <p:nvSpPr>
          <p:cNvPr id="16" name="Ellipse 15"/>
          <p:cNvSpPr>
            <a:spLocks/>
          </p:cNvSpPr>
          <p:nvPr userDrawn="1"/>
        </p:nvSpPr>
        <p:spPr>
          <a:xfrm>
            <a:off x="6389712"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3595004" y="1966632"/>
            <a:ext cx="1978746" cy="597244"/>
          </a:xfrm>
          <a:prstGeom prst="rect">
            <a:avLst/>
          </a:prstGeom>
          <a:effectLst/>
        </p:spPr>
        <p:txBody>
          <a:bodyPr vert="horz" wrap="square" anchor="ctr">
            <a:noAutofit/>
          </a:bodyPr>
          <a:lstStyle>
            <a:lvl1pPr marL="0" marR="0" indent="0" algn="ctr" defTabSz="818672" rtl="0" eaLnBrk="1" fontAlgn="auto" latinLnBrk="0" hangingPunct="1">
              <a:lnSpc>
                <a:spcPct val="100000"/>
              </a:lnSpc>
              <a:spcBef>
                <a:spcPct val="20000"/>
              </a:spcBef>
              <a:spcAft>
                <a:spcPts val="0"/>
              </a:spcAft>
              <a:buClr>
                <a:srgbClr val="FF0000"/>
              </a:buClr>
              <a:buSzTx/>
              <a:buFontTx/>
              <a:buNone/>
              <a:tabLst/>
              <a:defRPr sz="1650" b="0" i="0" u="none" strike="noStrike" cap="none" baseline="0">
                <a:solidFill>
                  <a:schemeClr val="tx1">
                    <a:lumMod val="100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818672" rtl="0" eaLnBrk="1" fontAlgn="auto" latinLnBrk="0" hangingPunct="1">
              <a:lnSpc>
                <a:spcPct val="100000"/>
              </a:lnSpc>
              <a:spcBef>
                <a:spcPct val="20000"/>
              </a:spcBef>
              <a:spcAft>
                <a:spcPts val="0"/>
              </a:spcAft>
              <a:buClr>
                <a:srgbClr val="FF0000"/>
              </a:buClr>
              <a:buSzTx/>
              <a:buFontTx/>
              <a:buNone/>
              <a:tabLst/>
              <a:defRPr/>
            </a:pPr>
            <a:r>
              <a:rPr lang="da-DK" noProof="0" dirty="0"/>
              <a:t>Overskrift</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6390966" y="1951180"/>
            <a:ext cx="1978747" cy="597244"/>
          </a:xfrm>
          <a:prstGeom prst="rect">
            <a:avLst/>
          </a:prstGeom>
          <a:effectLst/>
        </p:spPr>
        <p:txBody>
          <a:bodyPr vert="horz" wrap="square" anchor="ctr">
            <a:noAutofit/>
          </a:bodyPr>
          <a:lstStyle>
            <a:lvl1pPr marL="0" indent="0" algn="ctr">
              <a:buClr>
                <a:srgbClr val="FF0000"/>
              </a:buClr>
              <a:buFontTx/>
              <a:buNone/>
              <a:defRPr sz="1650" b="0" i="0" u="none" strike="noStrike" cap="none" baseline="0">
                <a:solidFill>
                  <a:schemeClr val="tx1">
                    <a:lumMod val="100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Overskrift</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3491191" y="3377400"/>
            <a:ext cx="2160000" cy="1030294"/>
          </a:xfrm>
          <a:prstGeom prst="rect">
            <a:avLst/>
          </a:prstGeom>
          <a:effectLst/>
        </p:spPr>
        <p:txBody>
          <a:bodyPr vert="horz" wrap="square" anchor="t">
            <a:noAutofit/>
          </a:bodyPr>
          <a:lstStyle>
            <a:lvl1pPr marL="0" indent="0" algn="ctr">
              <a:spcAft>
                <a:spcPts val="600"/>
              </a:spcAft>
              <a:buClrTx/>
              <a:buFont typeface="Arial" panose="020B0604020202020204" pitchFamily="34" charset="0"/>
              <a:buNone/>
              <a:defRPr sz="1350" b="0" i="0" u="none" strike="noStrike" baseline="0">
                <a:solidFill>
                  <a:schemeClr val="tx1">
                    <a:lumMod val="100000"/>
                  </a:schemeClr>
                </a:solidFill>
                <a:latin typeface="Arial" panose="020B0604020202020204" pitchFamily="34" charset="0"/>
              </a:defRPr>
            </a:lvl1pPr>
          </a:lstStyle>
          <a:p>
            <a:pPr lvl="0"/>
            <a:r>
              <a:rPr lang="da-DK" noProof="0" dirty="0"/>
              <a:t>Tekst</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6298814" y="3379141"/>
            <a:ext cx="2160000" cy="1028553"/>
          </a:xfrm>
          <a:prstGeom prst="rect">
            <a:avLst/>
          </a:prstGeom>
          <a:effectLst/>
        </p:spPr>
        <p:txBody>
          <a:bodyPr vert="horz" wrap="square" anchor="t">
            <a:noAutofit/>
          </a:bodyPr>
          <a:lstStyle>
            <a:lvl1pPr marL="0" indent="0" algn="ctr">
              <a:spcAft>
                <a:spcPts val="600"/>
              </a:spcAft>
              <a:buClrTx/>
              <a:buFont typeface="Arial" panose="020B0604020202020204" pitchFamily="34" charset="0"/>
              <a:buNone/>
              <a:defRPr sz="1350" b="0" i="0" u="none" strike="noStrike" baseline="0">
                <a:solidFill>
                  <a:schemeClr val="tx1">
                    <a:lumMod val="100000"/>
                  </a:schemeClr>
                </a:solidFill>
                <a:latin typeface="Arial" panose="020B0604020202020204" pitchFamily="34" charset="0"/>
              </a:defRPr>
            </a:lvl1pPr>
          </a:lstStyle>
          <a:p>
            <a:pPr lvl="0"/>
            <a:r>
              <a:rPr lang="da-DK" noProof="0" dirty="0"/>
              <a:t>Tekst</a:t>
            </a:r>
          </a:p>
        </p:txBody>
      </p:sp>
      <p:sp>
        <p:nvSpPr>
          <p:cNvPr id="19" name="Pladsholder til titel 1"/>
          <p:cNvSpPr>
            <a:spLocks noGrp="1"/>
          </p:cNvSpPr>
          <p:nvPr>
            <p:ph type="title" hasCustomPrompt="1"/>
          </p:nvPr>
        </p:nvSpPr>
        <p:spPr>
          <a:xfrm>
            <a:off x="417251" y="205979"/>
            <a:ext cx="8309499" cy="857250"/>
          </a:xfrm>
          <a:prstGeom prst="rect">
            <a:avLst/>
          </a:prstGeom>
        </p:spPr>
        <p:txBody>
          <a:bodyPr vert="horz" lIns="0" tIns="40934" rIns="81869" bIns="40934" rtlCol="0" anchor="ctr">
            <a:noAutofit/>
          </a:bodyPr>
          <a:lstStyle>
            <a:lvl1pPr>
              <a:defRPr sz="2400"/>
            </a:lvl1pPr>
          </a:lstStyle>
          <a:p>
            <a:r>
              <a:rPr lang="da-DK" dirty="0"/>
              <a:t>Skriv din overskrift her</a:t>
            </a:r>
            <a:endParaRPr lang="da-DK" noProof="0" dirty="0"/>
          </a:p>
        </p:txBody>
      </p:sp>
      <p:sp>
        <p:nvSpPr>
          <p:cNvPr id="3" name="Date Placeholder 2">
            <a:extLst>
              <a:ext uri="{FF2B5EF4-FFF2-40B4-BE49-F238E27FC236}">
                <a16:creationId xmlns:a16="http://schemas.microsoft.com/office/drawing/2014/main" id="{043354C8-2D3B-EE62-FA49-51540D611E52}"/>
              </a:ext>
            </a:extLst>
          </p:cNvPr>
          <p:cNvSpPr>
            <a:spLocks noGrp="1"/>
          </p:cNvSpPr>
          <p:nvPr>
            <p:ph type="dt" sz="half" idx="34"/>
          </p:nvPr>
        </p:nvSpPr>
        <p:spPr/>
        <p:txBody>
          <a:bodyPr/>
          <a:lstStyle/>
          <a:p>
            <a:fld id="{5B995652-FF18-4DE3-B059-0F1564BE8658}" type="datetime2">
              <a:rPr lang="da-DK" smtClean="0"/>
              <a:t>17. september 2025</a:t>
            </a:fld>
            <a:r>
              <a:rPr lang="da-DK" dirty="0"/>
              <a:t> </a:t>
            </a:r>
          </a:p>
        </p:txBody>
      </p:sp>
      <p:sp>
        <p:nvSpPr>
          <p:cNvPr id="4" name="Footer Placeholder 3">
            <a:extLst>
              <a:ext uri="{FF2B5EF4-FFF2-40B4-BE49-F238E27FC236}">
                <a16:creationId xmlns:a16="http://schemas.microsoft.com/office/drawing/2014/main" id="{5C752C5F-FD5B-A506-B3D4-F1002E919F3D}"/>
              </a:ext>
            </a:extLst>
          </p:cNvPr>
          <p:cNvSpPr>
            <a:spLocks noGrp="1"/>
          </p:cNvSpPr>
          <p:nvPr>
            <p:ph type="ftr" sz="quarter" idx="35"/>
          </p:nvPr>
        </p:nvSpPr>
        <p:spPr/>
        <p:txBody>
          <a:bodyPr/>
          <a:lstStyle/>
          <a:p>
            <a:r>
              <a:rPr lang="da-DK" dirty="0"/>
              <a:t>Klimadatastyrelsen </a:t>
            </a:r>
          </a:p>
        </p:txBody>
      </p:sp>
      <p:sp>
        <p:nvSpPr>
          <p:cNvPr id="5" name="Slide Number Placeholder 4">
            <a:extLst>
              <a:ext uri="{FF2B5EF4-FFF2-40B4-BE49-F238E27FC236}">
                <a16:creationId xmlns:a16="http://schemas.microsoft.com/office/drawing/2014/main" id="{08EDEF7C-7E56-D462-8BB7-380E6B06561B}"/>
              </a:ext>
            </a:extLst>
          </p:cNvPr>
          <p:cNvSpPr>
            <a:spLocks noGrp="1"/>
          </p:cNvSpPr>
          <p:nvPr>
            <p:ph type="sldNum" sz="quarter" idx="36"/>
          </p:nvPr>
        </p:nvSpPr>
        <p:spPr/>
        <p:txBody>
          <a:bodyPr/>
          <a:lstStyle/>
          <a:p>
            <a:fld id="{27069E6C-1A00-4921-95F4-578604732DF4}" type="slidenum">
              <a:rPr lang="da-DK" smtClean="0"/>
              <a:pPr/>
              <a:t>‹nr.›</a:t>
            </a:fld>
            <a:endParaRPr lang="da-DK" dirty="0"/>
          </a:p>
        </p:txBody>
      </p:sp>
    </p:spTree>
    <p:extLst>
      <p:ext uri="{BB962C8B-B14F-4D97-AF65-F5344CB8AC3E}">
        <p14:creationId xmlns:p14="http://schemas.microsoft.com/office/powerpoint/2010/main" val="410745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DFI_fire faktacirkler">
    <p:spTree>
      <p:nvGrpSpPr>
        <p:cNvPr id="1" name=""/>
        <p:cNvGrpSpPr/>
        <p:nvPr/>
      </p:nvGrpSpPr>
      <p:grpSpPr>
        <a:xfrm>
          <a:off x="0" y="0"/>
          <a:ext cx="0" cy="0"/>
          <a:chOff x="0" y="0"/>
          <a:chExt cx="0" cy="0"/>
        </a:xfrm>
      </p:grpSpPr>
      <p:sp>
        <p:nvSpPr>
          <p:cNvPr id="2" name="Ellipse 1"/>
          <p:cNvSpPr/>
          <p:nvPr userDrawn="1"/>
        </p:nvSpPr>
        <p:spPr>
          <a:xfrm>
            <a:off x="2601979"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20" name="Ellipse 19"/>
          <p:cNvSpPr/>
          <p:nvPr userDrawn="1"/>
        </p:nvSpPr>
        <p:spPr>
          <a:xfrm>
            <a:off x="472022"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21" name="Ellipse 20"/>
          <p:cNvSpPr/>
          <p:nvPr userDrawn="1"/>
        </p:nvSpPr>
        <p:spPr>
          <a:xfrm>
            <a:off x="6861891"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562022" y="1507751"/>
            <a:ext cx="1620001" cy="1376643"/>
          </a:xfrm>
          <a:prstGeom prst="rect">
            <a:avLst/>
          </a:prstGeom>
        </p:spPr>
        <p:txBody>
          <a:bodyPr anchor="ctr">
            <a:noAutofit/>
          </a:bodyPr>
          <a:lstStyle>
            <a:lvl1pPr marL="0" indent="0" algn="ctr">
              <a:buClr>
                <a:srgbClr val="FF0000"/>
              </a:buClr>
              <a:buFontTx/>
              <a:buNone/>
              <a:defRPr sz="1650" cap="none"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Overskrift</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62022" y="3232203"/>
            <a:ext cx="1620000" cy="1175071"/>
          </a:xfrm>
          <a:prstGeom prst="rect">
            <a:avLst/>
          </a:prstGeom>
        </p:spPr>
        <p:txBody>
          <a:bodyPr>
            <a:noAutofit/>
          </a:bodyPr>
          <a:lstStyle>
            <a:lvl1pPr marL="0" indent="0" algn="ctr">
              <a:spcAft>
                <a:spcPts val="600"/>
              </a:spcAft>
              <a:buClrTx/>
              <a:buFont typeface="Arial" panose="020B0604020202020204" pitchFamily="34" charset="0"/>
              <a:buNone/>
              <a:defRPr sz="1350" baseline="0">
                <a:solidFill>
                  <a:schemeClr val="tx1"/>
                </a:solidFill>
                <a:latin typeface="Arial" panose="020B0604020202020204" pitchFamily="34" charset="0"/>
                <a:cs typeface="Arial" panose="020B0604020202020204" pitchFamily="34" charset="0"/>
              </a:defRPr>
            </a:lvl1pPr>
          </a:lstStyle>
          <a:p>
            <a:pPr lvl="0"/>
            <a:r>
              <a:rPr lang="da-DK" noProof="0" dirty="0"/>
              <a:t>Tekst</a:t>
            </a:r>
          </a:p>
        </p:txBody>
      </p:sp>
      <p:sp>
        <p:nvSpPr>
          <p:cNvPr id="16" name="Ellipse 15"/>
          <p:cNvSpPr/>
          <p:nvPr userDrawn="1"/>
        </p:nvSpPr>
        <p:spPr>
          <a:xfrm>
            <a:off x="4731935"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667561" y="1507751"/>
            <a:ext cx="1676357" cy="1376643"/>
          </a:xfrm>
          <a:prstGeom prst="rect">
            <a:avLst/>
          </a:prstGeom>
        </p:spPr>
        <p:txBody>
          <a:bodyPr anchor="ctr">
            <a:noAutofit/>
          </a:bodyPr>
          <a:lstStyle>
            <a:lvl1pPr marL="0" marR="0" indent="0" algn="ctr" defTabSz="818672" rtl="0" eaLnBrk="1" fontAlgn="auto" latinLnBrk="0" hangingPunct="1">
              <a:lnSpc>
                <a:spcPct val="100000"/>
              </a:lnSpc>
              <a:spcBef>
                <a:spcPct val="20000"/>
              </a:spcBef>
              <a:spcAft>
                <a:spcPts val="0"/>
              </a:spcAft>
              <a:buClr>
                <a:srgbClr val="FF0000"/>
              </a:buClr>
              <a:buSzTx/>
              <a:buFontTx/>
              <a:buNone/>
              <a:tabLst/>
              <a:defRPr sz="1600" cap="none"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818672" rtl="0" eaLnBrk="1" fontAlgn="auto" latinLnBrk="0" hangingPunct="1">
              <a:lnSpc>
                <a:spcPct val="100000"/>
              </a:lnSpc>
              <a:spcBef>
                <a:spcPct val="20000"/>
              </a:spcBef>
              <a:spcAft>
                <a:spcPts val="0"/>
              </a:spcAft>
              <a:buClr>
                <a:srgbClr val="FF0000"/>
              </a:buClr>
              <a:buSzTx/>
              <a:buFontTx/>
              <a:buNone/>
              <a:tabLst/>
              <a:defRPr/>
            </a:pPr>
            <a:r>
              <a:rPr lang="da-DK" noProof="0" dirty="0"/>
              <a:t>Overskrift</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821936" y="1507751"/>
            <a:ext cx="1620000" cy="1376643"/>
          </a:xfrm>
          <a:prstGeom prst="rect">
            <a:avLst/>
          </a:prstGeom>
        </p:spPr>
        <p:txBody>
          <a:bodyPr anchor="ctr">
            <a:noAutofit/>
          </a:bodyPr>
          <a:lstStyle>
            <a:lvl1pPr marL="0" indent="0" algn="ctr">
              <a:buClr>
                <a:srgbClr val="FF0000"/>
              </a:buClr>
              <a:buFontTx/>
              <a:buNone/>
              <a:defRPr sz="1600" cap="none"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Overskrift</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951892" y="1507751"/>
            <a:ext cx="1620000" cy="1376643"/>
          </a:xfrm>
          <a:prstGeom prst="rect">
            <a:avLst/>
          </a:prstGeom>
        </p:spPr>
        <p:txBody>
          <a:bodyPr anchor="ctr">
            <a:noAutofit/>
          </a:bodyPr>
          <a:lstStyle>
            <a:lvl1pPr marL="0" indent="0" algn="ctr">
              <a:buClr>
                <a:srgbClr val="FF0000"/>
              </a:buClr>
              <a:buFontTx/>
              <a:buNone/>
              <a:defRPr sz="1600" cap="none"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Overskrift</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723918" y="3232203"/>
            <a:ext cx="1620000" cy="1175071"/>
          </a:xfrm>
          <a:prstGeom prst="rect">
            <a:avLst/>
          </a:prstGeom>
        </p:spPr>
        <p:txBody>
          <a:bodyPr>
            <a:noAutofit/>
          </a:bodyPr>
          <a:lstStyle>
            <a:lvl1pPr marL="0" indent="0" algn="ctr">
              <a:spcAft>
                <a:spcPts val="600"/>
              </a:spcAft>
              <a:buClrTx/>
              <a:buFont typeface="Arial" panose="020B0604020202020204" pitchFamily="34" charset="0"/>
              <a:buNone/>
              <a:defRPr sz="1350" baseline="0">
                <a:solidFill>
                  <a:schemeClr val="tx1"/>
                </a:solidFill>
              </a:defRPr>
            </a:lvl1pPr>
          </a:lstStyle>
          <a:p>
            <a:pPr lvl="0"/>
            <a:r>
              <a:rPr lang="da-DK" noProof="0" dirty="0"/>
              <a:t>Tekst</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821935" y="3232203"/>
            <a:ext cx="1620000" cy="1175071"/>
          </a:xfrm>
          <a:prstGeom prst="rect">
            <a:avLst/>
          </a:prstGeom>
        </p:spPr>
        <p:txBody>
          <a:bodyPr>
            <a:noAutofit/>
          </a:bodyPr>
          <a:lstStyle>
            <a:lvl1pPr marL="0" indent="0" algn="ctr">
              <a:spcAft>
                <a:spcPts val="600"/>
              </a:spcAft>
              <a:buClrTx/>
              <a:buFont typeface="Arial" panose="020B0604020202020204" pitchFamily="34" charset="0"/>
              <a:buNone/>
              <a:defRPr sz="1350" baseline="0">
                <a:solidFill>
                  <a:schemeClr val="tx1"/>
                </a:solidFill>
              </a:defRPr>
            </a:lvl1pPr>
          </a:lstStyle>
          <a:p>
            <a:pPr lvl="0"/>
            <a:r>
              <a:rPr lang="da-DK" noProof="0" dirty="0"/>
              <a:t>Tekst</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951891" y="3232203"/>
            <a:ext cx="1620000" cy="1175071"/>
          </a:xfrm>
          <a:prstGeom prst="rect">
            <a:avLst/>
          </a:prstGeom>
        </p:spPr>
        <p:txBody>
          <a:bodyPr>
            <a:noAutofit/>
          </a:bodyPr>
          <a:lstStyle>
            <a:lvl1pPr marL="0" indent="0" algn="ctr">
              <a:spcAft>
                <a:spcPts val="600"/>
              </a:spcAft>
              <a:buClrTx/>
              <a:buFont typeface="Arial" panose="020B0604020202020204" pitchFamily="34" charset="0"/>
              <a:buNone/>
              <a:defRPr sz="1350" baseline="0">
                <a:solidFill>
                  <a:schemeClr val="tx1"/>
                </a:solidFill>
              </a:defRPr>
            </a:lvl1pPr>
          </a:lstStyle>
          <a:p>
            <a:pPr lvl="0"/>
            <a:r>
              <a:rPr lang="da-DK" noProof="0" dirty="0"/>
              <a:t>Tekst </a:t>
            </a:r>
          </a:p>
        </p:txBody>
      </p:sp>
      <p:sp>
        <p:nvSpPr>
          <p:cNvPr id="19" name="Pladsholder til titel 1"/>
          <p:cNvSpPr>
            <a:spLocks noGrp="1"/>
          </p:cNvSpPr>
          <p:nvPr>
            <p:ph type="title" hasCustomPrompt="1"/>
          </p:nvPr>
        </p:nvSpPr>
        <p:spPr>
          <a:xfrm>
            <a:off x="417251" y="205979"/>
            <a:ext cx="8309499" cy="857250"/>
          </a:xfrm>
          <a:prstGeom prst="rect">
            <a:avLst/>
          </a:prstGeom>
        </p:spPr>
        <p:txBody>
          <a:bodyPr vert="horz" lIns="0" tIns="40934" rIns="81869" bIns="40934" rtlCol="0" anchor="ctr">
            <a:noAutofit/>
          </a:bodyPr>
          <a:lstStyle>
            <a:lvl1pPr>
              <a:defRPr sz="2400"/>
            </a:lvl1pPr>
          </a:lstStyle>
          <a:p>
            <a:r>
              <a:rPr lang="da-DK" dirty="0"/>
              <a:t>Skriv din overskrift her</a:t>
            </a:r>
            <a:endParaRPr lang="da-DK" noProof="0" dirty="0"/>
          </a:p>
        </p:txBody>
      </p:sp>
      <p:sp>
        <p:nvSpPr>
          <p:cNvPr id="3" name="Date Placeholder 2">
            <a:extLst>
              <a:ext uri="{FF2B5EF4-FFF2-40B4-BE49-F238E27FC236}">
                <a16:creationId xmlns:a16="http://schemas.microsoft.com/office/drawing/2014/main" id="{698C706E-7A17-8422-7894-BD0E9FBD8B29}"/>
              </a:ext>
            </a:extLst>
          </p:cNvPr>
          <p:cNvSpPr>
            <a:spLocks noGrp="1"/>
          </p:cNvSpPr>
          <p:nvPr>
            <p:ph type="dt" sz="half" idx="35"/>
          </p:nvPr>
        </p:nvSpPr>
        <p:spPr/>
        <p:txBody>
          <a:bodyPr/>
          <a:lstStyle/>
          <a:p>
            <a:fld id="{A43CE44D-CF83-4D64-9C4C-6A634DAFC567}" type="datetime2">
              <a:rPr lang="da-DK" smtClean="0"/>
              <a:t>17. september 2025</a:t>
            </a:fld>
            <a:r>
              <a:rPr lang="da-DK" dirty="0"/>
              <a:t> </a:t>
            </a:r>
          </a:p>
        </p:txBody>
      </p:sp>
      <p:sp>
        <p:nvSpPr>
          <p:cNvPr id="4" name="Footer Placeholder 3">
            <a:extLst>
              <a:ext uri="{FF2B5EF4-FFF2-40B4-BE49-F238E27FC236}">
                <a16:creationId xmlns:a16="http://schemas.microsoft.com/office/drawing/2014/main" id="{BC3E8526-488F-0FA0-1D5B-2B41D6E57600}"/>
              </a:ext>
            </a:extLst>
          </p:cNvPr>
          <p:cNvSpPr>
            <a:spLocks noGrp="1"/>
          </p:cNvSpPr>
          <p:nvPr>
            <p:ph type="ftr" sz="quarter" idx="36"/>
          </p:nvPr>
        </p:nvSpPr>
        <p:spPr/>
        <p:txBody>
          <a:bodyPr/>
          <a:lstStyle/>
          <a:p>
            <a:r>
              <a:rPr lang="da-DK" dirty="0"/>
              <a:t>Klimadatastyrelsen </a:t>
            </a:r>
          </a:p>
        </p:txBody>
      </p:sp>
      <p:sp>
        <p:nvSpPr>
          <p:cNvPr id="5" name="Slide Number Placeholder 4">
            <a:extLst>
              <a:ext uri="{FF2B5EF4-FFF2-40B4-BE49-F238E27FC236}">
                <a16:creationId xmlns:a16="http://schemas.microsoft.com/office/drawing/2014/main" id="{2619F954-A722-E475-D9A6-AD773FAA9F7F}"/>
              </a:ext>
            </a:extLst>
          </p:cNvPr>
          <p:cNvSpPr>
            <a:spLocks noGrp="1"/>
          </p:cNvSpPr>
          <p:nvPr>
            <p:ph type="sldNum" sz="quarter" idx="37"/>
          </p:nvPr>
        </p:nvSpPr>
        <p:spPr/>
        <p:txBody>
          <a:bodyPr/>
          <a:lstStyle/>
          <a:p>
            <a:fld id="{27069E6C-1A00-4921-95F4-578604732DF4}" type="slidenum">
              <a:rPr lang="da-DK" smtClean="0"/>
              <a:pPr/>
              <a:t>‹nr.›</a:t>
            </a:fld>
            <a:endParaRPr lang="da-DK" dirty="0"/>
          </a:p>
        </p:txBody>
      </p:sp>
    </p:spTree>
    <p:extLst>
      <p:ext uri="{BB962C8B-B14F-4D97-AF65-F5344CB8AC3E}">
        <p14:creationId xmlns:p14="http://schemas.microsoft.com/office/powerpoint/2010/main" val="1604888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DFI_Proces &amp; forløb">
    <p:spTree>
      <p:nvGrpSpPr>
        <p:cNvPr id="1" name=""/>
        <p:cNvGrpSpPr/>
        <p:nvPr/>
      </p:nvGrpSpPr>
      <p:grpSpPr>
        <a:xfrm>
          <a:off x="0" y="0"/>
          <a:ext cx="0" cy="0"/>
          <a:chOff x="0" y="0"/>
          <a:chExt cx="0" cy="0"/>
        </a:xfrm>
      </p:grpSpPr>
      <p:sp>
        <p:nvSpPr>
          <p:cNvPr id="2" name="Ellipse 1"/>
          <p:cNvSpPr>
            <a:spLocks/>
          </p:cNvSpPr>
          <p:nvPr userDrawn="1"/>
        </p:nvSpPr>
        <p:spPr>
          <a:xfrm>
            <a:off x="2601979" y="1643366"/>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20" name="Ellipse 19"/>
          <p:cNvSpPr>
            <a:spLocks/>
          </p:cNvSpPr>
          <p:nvPr userDrawn="1"/>
        </p:nvSpPr>
        <p:spPr>
          <a:xfrm>
            <a:off x="472022" y="1643366"/>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21" name="Ellipse 20"/>
          <p:cNvSpPr>
            <a:spLocks/>
          </p:cNvSpPr>
          <p:nvPr userDrawn="1"/>
        </p:nvSpPr>
        <p:spPr>
          <a:xfrm>
            <a:off x="6861891" y="1643366"/>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562022" y="1875864"/>
            <a:ext cx="1620001" cy="1376643"/>
          </a:xfrm>
          <a:prstGeom prst="rect">
            <a:avLst/>
          </a:prstGeom>
        </p:spPr>
        <p:txBody>
          <a:bodyPr anchor="ctr">
            <a:noAutofit/>
          </a:bodyPr>
          <a:lstStyle>
            <a:lvl1pPr marL="0" indent="0" algn="ctr">
              <a:buClr>
                <a:srgbClr val="FF0000"/>
              </a:buClr>
              <a:buFontTx/>
              <a:buNone/>
              <a:defRPr sz="1650" cap="none"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Forste</a:t>
            </a:r>
          </a:p>
        </p:txBody>
      </p:sp>
      <p:sp>
        <p:nvSpPr>
          <p:cNvPr id="16" name="Ellipse 15"/>
          <p:cNvSpPr>
            <a:spLocks/>
          </p:cNvSpPr>
          <p:nvPr userDrawn="1"/>
        </p:nvSpPr>
        <p:spPr>
          <a:xfrm>
            <a:off x="4731935" y="1643366"/>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133"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667562" y="1875864"/>
            <a:ext cx="1620001" cy="1376643"/>
          </a:xfrm>
          <a:prstGeom prst="rect">
            <a:avLst/>
          </a:prstGeom>
        </p:spPr>
        <p:txBody>
          <a:bodyPr anchor="ctr">
            <a:noAutofit/>
          </a:bodyPr>
          <a:lstStyle>
            <a:lvl1pPr marL="0" marR="0" indent="0" algn="ctr" defTabSz="818672" rtl="0" eaLnBrk="1" fontAlgn="auto" latinLnBrk="0" hangingPunct="1">
              <a:lnSpc>
                <a:spcPct val="100000"/>
              </a:lnSpc>
              <a:spcBef>
                <a:spcPct val="20000"/>
              </a:spcBef>
              <a:spcAft>
                <a:spcPts val="0"/>
              </a:spcAft>
              <a:buClr>
                <a:srgbClr val="FF0000"/>
              </a:buClr>
              <a:buSzTx/>
              <a:buFontTx/>
              <a:buNone/>
              <a:tabLst/>
              <a:defRPr sz="1600" cap="none"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818672" rtl="0" eaLnBrk="1" fontAlgn="auto" latinLnBrk="0" hangingPunct="1">
              <a:lnSpc>
                <a:spcPct val="100000"/>
              </a:lnSpc>
              <a:spcBef>
                <a:spcPct val="20000"/>
              </a:spcBef>
              <a:spcAft>
                <a:spcPts val="0"/>
              </a:spcAft>
              <a:buClr>
                <a:srgbClr val="FF0000"/>
              </a:buClr>
              <a:buSzTx/>
              <a:buFontTx/>
              <a:buNone/>
              <a:tabLst/>
              <a:defRPr/>
            </a:pPr>
            <a:r>
              <a:rPr lang="da-DK" noProof="0" dirty="0"/>
              <a:t>Anden</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821936" y="1875864"/>
            <a:ext cx="1620001" cy="1376643"/>
          </a:xfrm>
          <a:prstGeom prst="rect">
            <a:avLst/>
          </a:prstGeom>
        </p:spPr>
        <p:txBody>
          <a:bodyPr anchor="ctr">
            <a:noAutofit/>
          </a:bodyPr>
          <a:lstStyle>
            <a:lvl1pPr marL="0" indent="0" algn="ctr">
              <a:buClr>
                <a:srgbClr val="FF0000"/>
              </a:buClr>
              <a:buFontTx/>
              <a:buNone/>
              <a:defRPr sz="1600" cap="none"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Tredje</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951892" y="1875864"/>
            <a:ext cx="1620001" cy="1376643"/>
          </a:xfrm>
          <a:prstGeom prst="rect">
            <a:avLst/>
          </a:prstGeom>
        </p:spPr>
        <p:txBody>
          <a:bodyPr anchor="ctr">
            <a:noAutofit/>
          </a:bodyPr>
          <a:lstStyle>
            <a:lvl1pPr marL="0" indent="0" algn="ctr">
              <a:buClr>
                <a:srgbClr val="FF0000"/>
              </a:buClr>
              <a:buFontTx/>
              <a:buNone/>
              <a:defRPr sz="1600" cap="none"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Fjerde</a:t>
            </a:r>
          </a:p>
        </p:txBody>
      </p:sp>
      <p:sp>
        <p:nvSpPr>
          <p:cNvPr id="19" name="Pladsholder til titel 1"/>
          <p:cNvSpPr>
            <a:spLocks noGrp="1"/>
          </p:cNvSpPr>
          <p:nvPr>
            <p:ph type="title" hasCustomPrompt="1"/>
          </p:nvPr>
        </p:nvSpPr>
        <p:spPr>
          <a:xfrm>
            <a:off x="417251" y="205979"/>
            <a:ext cx="8309499" cy="857250"/>
          </a:xfrm>
          <a:prstGeom prst="rect">
            <a:avLst/>
          </a:prstGeom>
        </p:spPr>
        <p:txBody>
          <a:bodyPr vert="horz" lIns="0" tIns="40934" rIns="81869" bIns="40934" rtlCol="0" anchor="ctr">
            <a:noAutofit/>
          </a:bodyPr>
          <a:lstStyle>
            <a:lvl1pPr>
              <a:defRPr sz="2400"/>
            </a:lvl1pPr>
          </a:lstStyle>
          <a:p>
            <a:r>
              <a:rPr lang="da-DK" dirty="0"/>
              <a:t>Skriv din overskrift her</a:t>
            </a:r>
            <a:endParaRPr lang="da-DK" noProof="0" dirty="0"/>
          </a:p>
        </p:txBody>
      </p:sp>
      <p:sp>
        <p:nvSpPr>
          <p:cNvPr id="3" name="Vinkel 2">
            <a:extLst>
              <a:ext uri="{FF2B5EF4-FFF2-40B4-BE49-F238E27FC236}">
                <a16:creationId xmlns:a16="http://schemas.microsoft.com/office/drawing/2014/main" id="{34A363F6-5772-0F89-1462-C04EEC2B4F7C}"/>
              </a:ext>
            </a:extLst>
          </p:cNvPr>
          <p:cNvSpPr/>
          <p:nvPr userDrawn="1"/>
        </p:nvSpPr>
        <p:spPr>
          <a:xfrm>
            <a:off x="2338317" y="2349022"/>
            <a:ext cx="177937" cy="388688"/>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solidFill>
                <a:schemeClr val="tx1"/>
              </a:solidFill>
            </a:endParaRPr>
          </a:p>
        </p:txBody>
      </p:sp>
      <p:sp>
        <p:nvSpPr>
          <p:cNvPr id="4" name="Vinkel 26">
            <a:extLst>
              <a:ext uri="{FF2B5EF4-FFF2-40B4-BE49-F238E27FC236}">
                <a16:creationId xmlns:a16="http://schemas.microsoft.com/office/drawing/2014/main" id="{40457A52-0635-2959-36D3-8A80C90D7369}"/>
              </a:ext>
            </a:extLst>
          </p:cNvPr>
          <p:cNvSpPr/>
          <p:nvPr userDrawn="1"/>
        </p:nvSpPr>
        <p:spPr>
          <a:xfrm>
            <a:off x="4464000" y="2349022"/>
            <a:ext cx="177937" cy="388688"/>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solidFill>
                <a:schemeClr val="tx1"/>
              </a:solidFill>
            </a:endParaRPr>
          </a:p>
        </p:txBody>
      </p:sp>
      <p:sp>
        <p:nvSpPr>
          <p:cNvPr id="5" name="Vinkel 27">
            <a:extLst>
              <a:ext uri="{FF2B5EF4-FFF2-40B4-BE49-F238E27FC236}">
                <a16:creationId xmlns:a16="http://schemas.microsoft.com/office/drawing/2014/main" id="{750FF8B4-94D7-1F0D-6B96-238DE4BD3EC2}"/>
              </a:ext>
            </a:extLst>
          </p:cNvPr>
          <p:cNvSpPr/>
          <p:nvPr userDrawn="1"/>
        </p:nvSpPr>
        <p:spPr>
          <a:xfrm>
            <a:off x="6598998" y="2369842"/>
            <a:ext cx="177937" cy="388688"/>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solidFill>
                <a:schemeClr val="tx1"/>
              </a:solidFill>
            </a:endParaRPr>
          </a:p>
        </p:txBody>
      </p:sp>
      <p:sp>
        <p:nvSpPr>
          <p:cNvPr id="6" name="Date Placeholder 5">
            <a:extLst>
              <a:ext uri="{FF2B5EF4-FFF2-40B4-BE49-F238E27FC236}">
                <a16:creationId xmlns:a16="http://schemas.microsoft.com/office/drawing/2014/main" id="{8EF82E4E-6090-44E5-4979-A552C8E16446}"/>
              </a:ext>
            </a:extLst>
          </p:cNvPr>
          <p:cNvSpPr>
            <a:spLocks noGrp="1"/>
          </p:cNvSpPr>
          <p:nvPr>
            <p:ph type="dt" sz="half" idx="32"/>
          </p:nvPr>
        </p:nvSpPr>
        <p:spPr/>
        <p:txBody>
          <a:bodyPr/>
          <a:lstStyle/>
          <a:p>
            <a:fld id="{05AF642C-DBBC-4C6E-B117-1FC7456D7DA7}" type="datetime2">
              <a:rPr lang="da-DK" smtClean="0"/>
              <a:t>17. september 2025</a:t>
            </a:fld>
            <a:r>
              <a:rPr lang="da-DK" dirty="0"/>
              <a:t> </a:t>
            </a:r>
          </a:p>
        </p:txBody>
      </p:sp>
      <p:sp>
        <p:nvSpPr>
          <p:cNvPr id="7" name="Footer Placeholder 6">
            <a:extLst>
              <a:ext uri="{FF2B5EF4-FFF2-40B4-BE49-F238E27FC236}">
                <a16:creationId xmlns:a16="http://schemas.microsoft.com/office/drawing/2014/main" id="{FDB11D70-A7A2-A64D-499F-096CE6A6C095}"/>
              </a:ext>
            </a:extLst>
          </p:cNvPr>
          <p:cNvSpPr>
            <a:spLocks noGrp="1"/>
          </p:cNvSpPr>
          <p:nvPr>
            <p:ph type="ftr" sz="quarter" idx="33"/>
          </p:nvPr>
        </p:nvSpPr>
        <p:spPr/>
        <p:txBody>
          <a:bodyPr/>
          <a:lstStyle/>
          <a:p>
            <a:r>
              <a:rPr lang="da-DK" dirty="0"/>
              <a:t>Klimadatastyrelsen </a:t>
            </a:r>
          </a:p>
        </p:txBody>
      </p:sp>
      <p:sp>
        <p:nvSpPr>
          <p:cNvPr id="8" name="Slide Number Placeholder 7">
            <a:extLst>
              <a:ext uri="{FF2B5EF4-FFF2-40B4-BE49-F238E27FC236}">
                <a16:creationId xmlns:a16="http://schemas.microsoft.com/office/drawing/2014/main" id="{3CD60DA6-77CC-091D-68C8-317D8ED794FB}"/>
              </a:ext>
            </a:extLst>
          </p:cNvPr>
          <p:cNvSpPr>
            <a:spLocks noGrp="1"/>
          </p:cNvSpPr>
          <p:nvPr>
            <p:ph type="sldNum" sz="quarter" idx="34"/>
          </p:nvPr>
        </p:nvSpPr>
        <p:spPr/>
        <p:txBody>
          <a:bodyPr/>
          <a:lstStyle/>
          <a:p>
            <a:fld id="{27069E6C-1A00-4921-95F4-578604732DF4}" type="slidenum">
              <a:rPr lang="da-DK" smtClean="0"/>
              <a:pPr/>
              <a:t>‹nr.›</a:t>
            </a:fld>
            <a:endParaRPr lang="da-DK" dirty="0"/>
          </a:p>
        </p:txBody>
      </p:sp>
    </p:spTree>
    <p:extLst>
      <p:ext uri="{BB962C8B-B14F-4D97-AF65-F5344CB8AC3E}">
        <p14:creationId xmlns:p14="http://schemas.microsoft.com/office/powerpoint/2010/main" val="113009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DFI_Breaker_0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7" name="Titel 1"/>
          <p:cNvSpPr>
            <a:spLocks noGrp="1"/>
          </p:cNvSpPr>
          <p:nvPr>
            <p:ph type="title" hasCustomPrompt="1"/>
          </p:nvPr>
        </p:nvSpPr>
        <p:spPr>
          <a:xfrm>
            <a:off x="411957" y="897564"/>
            <a:ext cx="8318897" cy="1739348"/>
          </a:xfrm>
          <a:prstGeom prst="rect">
            <a:avLst/>
          </a:prstGeom>
          <a:noFill/>
        </p:spPr>
        <p:txBody>
          <a:bodyPr anchor="b">
            <a:noAutofit/>
          </a:bodyPr>
          <a:lstStyle>
            <a:lvl1pPr algn="ctr">
              <a:defRPr sz="3900" baseline="0">
                <a:solidFill>
                  <a:schemeClr val="bg1"/>
                </a:solidFill>
              </a:defRPr>
            </a:lvl1pPr>
          </a:lstStyle>
          <a:p>
            <a:r>
              <a:rPr lang="da-DK" noProof="0" dirty="0"/>
              <a:t>Klik her for at tilføje tekst</a:t>
            </a:r>
          </a:p>
        </p:txBody>
      </p:sp>
      <p:sp>
        <p:nvSpPr>
          <p:cNvPr id="28" name="Pladsholder til tekst 9"/>
          <p:cNvSpPr>
            <a:spLocks noGrp="1"/>
          </p:cNvSpPr>
          <p:nvPr>
            <p:ph type="body" sz="quarter" idx="12" hasCustomPrompt="1"/>
          </p:nvPr>
        </p:nvSpPr>
        <p:spPr>
          <a:xfrm>
            <a:off x="1643062" y="2950412"/>
            <a:ext cx="5856685" cy="1079500"/>
          </a:xfrm>
          <a:prstGeom prst="rect">
            <a:avLst/>
          </a:prstGeom>
          <a:noFill/>
        </p:spPr>
        <p:txBody>
          <a:bodyPr>
            <a:noAutofit/>
          </a:bodyPr>
          <a:lstStyle>
            <a:lvl1pPr marL="0" indent="0" algn="ctr">
              <a:buNone/>
              <a:defRPr sz="1650" baseline="0">
                <a:solidFill>
                  <a:schemeClr val="bg1"/>
                </a:solidFill>
              </a:defRPr>
            </a:lvl1pPr>
          </a:lstStyle>
          <a:p>
            <a:pPr lvl="0"/>
            <a:r>
              <a:rPr lang="da-DK" noProof="0" dirty="0"/>
              <a:t>Klik her for at tilføje mere tekst</a:t>
            </a:r>
          </a:p>
        </p:txBody>
      </p:sp>
      <p:sp>
        <p:nvSpPr>
          <p:cNvPr id="4" name="Freeform: Shape 3">
            <a:extLst>
              <a:ext uri="{FF2B5EF4-FFF2-40B4-BE49-F238E27FC236}">
                <a16:creationId xmlns:a16="http://schemas.microsoft.com/office/drawing/2014/main" id="{8F6F30DD-2A08-0FE0-36EA-8B1CD92FF660}"/>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276722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DFI_Breaker_0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7" name="Titel 1"/>
          <p:cNvSpPr>
            <a:spLocks noGrp="1"/>
          </p:cNvSpPr>
          <p:nvPr>
            <p:ph type="title" hasCustomPrompt="1"/>
          </p:nvPr>
        </p:nvSpPr>
        <p:spPr>
          <a:xfrm>
            <a:off x="411957" y="897564"/>
            <a:ext cx="8318897" cy="1739348"/>
          </a:xfrm>
          <a:prstGeom prst="rect">
            <a:avLst/>
          </a:prstGeom>
          <a:noFill/>
        </p:spPr>
        <p:txBody>
          <a:bodyPr anchor="b">
            <a:noAutofit/>
          </a:bodyPr>
          <a:lstStyle>
            <a:lvl1pPr algn="ctr">
              <a:defRPr sz="3900" baseline="0">
                <a:solidFill>
                  <a:schemeClr val="bg1"/>
                </a:solidFill>
              </a:defRPr>
            </a:lvl1pPr>
          </a:lstStyle>
          <a:p>
            <a:r>
              <a:rPr lang="da-DK" noProof="0" dirty="0"/>
              <a:t>Klik her for at tilføje tekst</a:t>
            </a:r>
          </a:p>
        </p:txBody>
      </p:sp>
      <p:sp>
        <p:nvSpPr>
          <p:cNvPr id="28" name="Pladsholder til tekst 9"/>
          <p:cNvSpPr>
            <a:spLocks noGrp="1"/>
          </p:cNvSpPr>
          <p:nvPr>
            <p:ph type="body" sz="quarter" idx="12" hasCustomPrompt="1"/>
          </p:nvPr>
        </p:nvSpPr>
        <p:spPr>
          <a:xfrm>
            <a:off x="1643062" y="2950412"/>
            <a:ext cx="5856685" cy="1079500"/>
          </a:xfrm>
          <a:prstGeom prst="rect">
            <a:avLst/>
          </a:prstGeom>
          <a:noFill/>
        </p:spPr>
        <p:txBody>
          <a:bodyPr>
            <a:noAutofit/>
          </a:bodyPr>
          <a:lstStyle>
            <a:lvl1pPr marL="0" indent="0" algn="ctr">
              <a:buNone/>
              <a:defRPr sz="1650" baseline="0">
                <a:solidFill>
                  <a:schemeClr val="bg1"/>
                </a:solidFill>
              </a:defRPr>
            </a:lvl1pPr>
          </a:lstStyle>
          <a:p>
            <a:pPr lvl="0"/>
            <a:r>
              <a:rPr lang="da-DK" noProof="0" dirty="0"/>
              <a:t>Klik her for at tilføje mere tekst</a:t>
            </a:r>
          </a:p>
        </p:txBody>
      </p:sp>
    </p:spTree>
    <p:extLst>
      <p:ext uri="{BB962C8B-B14F-4D97-AF65-F5344CB8AC3E}">
        <p14:creationId xmlns:p14="http://schemas.microsoft.com/office/powerpoint/2010/main" val="211785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DFI_Pause">
    <p:bg>
      <p:bgPr>
        <a:solidFill>
          <a:schemeClr val="accent1"/>
        </a:solidFill>
        <a:effectLst/>
      </p:bgPr>
    </p:bg>
    <p:spTree>
      <p:nvGrpSpPr>
        <p:cNvPr id="1" name=""/>
        <p:cNvGrpSpPr/>
        <p:nvPr/>
      </p:nvGrpSpPr>
      <p:grpSpPr>
        <a:xfrm>
          <a:off x="0" y="0"/>
          <a:ext cx="0" cy="0"/>
          <a:chOff x="0" y="0"/>
          <a:chExt cx="0" cy="0"/>
        </a:xfrm>
      </p:grpSpPr>
      <p:sp>
        <p:nvSpPr>
          <p:cNvPr id="4" name="Pladsholder til tekst 16"/>
          <p:cNvSpPr>
            <a:spLocks noGrp="1"/>
          </p:cNvSpPr>
          <p:nvPr>
            <p:ph type="body" sz="quarter" idx="10" hasCustomPrompt="1"/>
          </p:nvPr>
        </p:nvSpPr>
        <p:spPr>
          <a:xfrm>
            <a:off x="1643062" y="1371519"/>
            <a:ext cx="5856686" cy="1967426"/>
          </a:xfrm>
          <a:prstGeom prst="rect">
            <a:avLst/>
          </a:prstGeom>
          <a:effectLst>
            <a:softEdge rad="0"/>
          </a:effectLst>
        </p:spPr>
        <p:txBody>
          <a:bodyPr lIns="0" anchor="t" anchorCtr="0">
            <a:noAutofit/>
          </a:bodyPr>
          <a:lstStyle>
            <a:lvl1pPr marL="0" indent="0" algn="ctr">
              <a:buNone/>
              <a:defRPr sz="13500" b="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Pause</a:t>
            </a:r>
          </a:p>
        </p:txBody>
      </p:sp>
      <p:sp>
        <p:nvSpPr>
          <p:cNvPr id="5" name="Freeform: Shape 4">
            <a:extLst>
              <a:ext uri="{FF2B5EF4-FFF2-40B4-BE49-F238E27FC236}">
                <a16:creationId xmlns:a16="http://schemas.microsoft.com/office/drawing/2014/main" id="{A45F9FE9-F2AF-9B09-9A56-4A0E87E83419}"/>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895382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233688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DFI_Citat_0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Pladsholder til tekst 15"/>
          <p:cNvSpPr>
            <a:spLocks noGrp="1"/>
          </p:cNvSpPr>
          <p:nvPr>
            <p:ph type="body" sz="quarter" idx="10" hasCustomPrompt="1"/>
          </p:nvPr>
        </p:nvSpPr>
        <p:spPr>
          <a:xfrm>
            <a:off x="1829992" y="1188244"/>
            <a:ext cx="5482827" cy="2247587"/>
          </a:xfrm>
          <a:prstGeom prst="rect">
            <a:avLst/>
          </a:prstGeom>
          <a:noFill/>
        </p:spPr>
        <p:txBody>
          <a:bodyPr rIns="0" anchor="t" anchorCtr="0">
            <a:noAutofit/>
          </a:bodyPr>
          <a:lstStyle>
            <a:lvl1pPr marL="0" indent="0" algn="l">
              <a:buNone/>
              <a:defRPr sz="2400"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Indsæt citat her</a:t>
            </a:r>
          </a:p>
        </p:txBody>
      </p:sp>
      <p:sp>
        <p:nvSpPr>
          <p:cNvPr id="25" name="Pladsholder til tekst 15"/>
          <p:cNvSpPr>
            <a:spLocks noGrp="1"/>
          </p:cNvSpPr>
          <p:nvPr>
            <p:ph type="body" sz="quarter" idx="11" hasCustomPrompt="1"/>
          </p:nvPr>
        </p:nvSpPr>
        <p:spPr>
          <a:xfrm>
            <a:off x="2914212" y="3543858"/>
            <a:ext cx="4398607" cy="423582"/>
          </a:xfrm>
          <a:prstGeom prst="rect">
            <a:avLst/>
          </a:prstGeom>
          <a:noFill/>
        </p:spPr>
        <p:txBody>
          <a:bodyPr rIns="0" bIns="0" anchor="b" anchorCtr="0">
            <a:noAutofit/>
          </a:bodyPr>
          <a:lstStyle>
            <a:lvl1pPr marL="0" indent="0" algn="r">
              <a:buNone/>
              <a:defRPr sz="1350" b="0" i="0" spc="9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Navn Navnesen, </a:t>
            </a:r>
            <a:br>
              <a:rPr lang="da-DK" noProof="0" dirty="0"/>
            </a:br>
            <a:r>
              <a:rPr lang="da-DK" noProof="0" dirty="0"/>
              <a:t>Styrelsen for Dataforsyning og Infrastruktur</a:t>
            </a:r>
          </a:p>
        </p:txBody>
      </p:sp>
      <p:sp>
        <p:nvSpPr>
          <p:cNvPr id="2" name="Date Placeholder 1">
            <a:extLst>
              <a:ext uri="{FF2B5EF4-FFF2-40B4-BE49-F238E27FC236}">
                <a16:creationId xmlns:a16="http://schemas.microsoft.com/office/drawing/2014/main" id="{E497B309-B9BF-5D0C-C9CE-D808632EF7B1}"/>
              </a:ext>
            </a:extLst>
          </p:cNvPr>
          <p:cNvSpPr>
            <a:spLocks noGrp="1"/>
          </p:cNvSpPr>
          <p:nvPr>
            <p:ph type="dt" sz="half" idx="12"/>
          </p:nvPr>
        </p:nvSpPr>
        <p:spPr/>
        <p:txBody>
          <a:bodyPr/>
          <a:lstStyle>
            <a:lvl1pPr>
              <a:defRPr>
                <a:solidFill>
                  <a:schemeClr val="bg1"/>
                </a:solidFill>
              </a:defRPr>
            </a:lvl1pPr>
          </a:lstStyle>
          <a:p>
            <a:fld id="{747E867A-0E67-4771-B735-524DEA41323A}" type="datetime2">
              <a:rPr lang="da-DK" smtClean="0"/>
              <a:t>17. september 2025</a:t>
            </a:fld>
            <a:r>
              <a:rPr lang="da-DK" dirty="0"/>
              <a:t> </a:t>
            </a:r>
          </a:p>
        </p:txBody>
      </p:sp>
      <p:sp>
        <p:nvSpPr>
          <p:cNvPr id="3" name="Footer Placeholder 2">
            <a:extLst>
              <a:ext uri="{FF2B5EF4-FFF2-40B4-BE49-F238E27FC236}">
                <a16:creationId xmlns:a16="http://schemas.microsoft.com/office/drawing/2014/main" id="{B67C760C-39F5-0B05-71F5-FC8FE5FD45F4}"/>
              </a:ext>
            </a:extLst>
          </p:cNvPr>
          <p:cNvSpPr>
            <a:spLocks noGrp="1"/>
          </p:cNvSpPr>
          <p:nvPr>
            <p:ph type="ftr" sz="quarter" idx="13"/>
          </p:nvPr>
        </p:nvSpPr>
        <p:spPr/>
        <p:txBody>
          <a:bodyPr/>
          <a:lstStyle>
            <a:lvl1pPr>
              <a:defRPr>
                <a:solidFill>
                  <a:schemeClr val="bg1"/>
                </a:solidFill>
              </a:defRPr>
            </a:lvl1pPr>
          </a:lstStyle>
          <a:p>
            <a:r>
              <a:rPr lang="da-DK" dirty="0"/>
              <a:t>Klimadatastyrelsen </a:t>
            </a:r>
          </a:p>
        </p:txBody>
      </p:sp>
      <p:sp>
        <p:nvSpPr>
          <p:cNvPr id="4" name="Slide Number Placeholder 3">
            <a:extLst>
              <a:ext uri="{FF2B5EF4-FFF2-40B4-BE49-F238E27FC236}">
                <a16:creationId xmlns:a16="http://schemas.microsoft.com/office/drawing/2014/main" id="{325C9638-E580-6FA8-A2C2-CB9EA8F23675}"/>
              </a:ext>
            </a:extLst>
          </p:cNvPr>
          <p:cNvSpPr>
            <a:spLocks noGrp="1"/>
          </p:cNvSpPr>
          <p:nvPr>
            <p:ph type="sldNum" sz="quarter" idx="14"/>
          </p:nvPr>
        </p:nvSpPr>
        <p:spPr/>
        <p:txBody>
          <a:bodyPr/>
          <a:lstStyle>
            <a:lvl1pPr>
              <a:defRPr>
                <a:solidFill>
                  <a:schemeClr val="bg1"/>
                </a:solidFill>
              </a:defRPr>
            </a:lvl1pPr>
          </a:lstStyle>
          <a:p>
            <a:fld id="{27069E6C-1A00-4921-95F4-578604732DF4}" type="slidenum">
              <a:rPr lang="da-DK" smtClean="0"/>
              <a:pPr/>
              <a:t>‹nr.›</a:t>
            </a:fld>
            <a:endParaRPr lang="da-DK" dirty="0"/>
          </a:p>
        </p:txBody>
      </p:sp>
    </p:spTree>
    <p:extLst>
      <p:ext uri="{BB962C8B-B14F-4D97-AF65-F5344CB8AC3E}">
        <p14:creationId xmlns:p14="http://schemas.microsoft.com/office/powerpoint/2010/main" val="316950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DFI_Citat_03">
    <p:bg>
      <p:bgPr>
        <a:solidFill>
          <a:schemeClr val="accent1"/>
        </a:solidFill>
        <a:effectLst/>
      </p:bgPr>
    </p:bg>
    <p:spTree>
      <p:nvGrpSpPr>
        <p:cNvPr id="1" name=""/>
        <p:cNvGrpSpPr/>
        <p:nvPr/>
      </p:nvGrpSpPr>
      <p:grpSpPr>
        <a:xfrm>
          <a:off x="0" y="0"/>
          <a:ext cx="0" cy="0"/>
          <a:chOff x="0" y="0"/>
          <a:chExt cx="0" cy="0"/>
        </a:xfrm>
      </p:grpSpPr>
      <p:sp>
        <p:nvSpPr>
          <p:cNvPr id="6" name="Tekstfelt 1">
            <a:extLst>
              <a:ext uri="{FF2B5EF4-FFF2-40B4-BE49-F238E27FC236}">
                <a16:creationId xmlns:a16="http://schemas.microsoft.com/office/drawing/2014/main" id="{B2AE9EB1-B66D-C843-A502-8BFEF0D05723}"/>
              </a:ext>
            </a:extLst>
          </p:cNvPr>
          <p:cNvSpPr txBox="1"/>
          <p:nvPr userDrawn="1"/>
        </p:nvSpPr>
        <p:spPr>
          <a:xfrm>
            <a:off x="1925706" y="2785596"/>
            <a:ext cx="519766" cy="866274"/>
          </a:xfrm>
          <a:prstGeom prst="rect">
            <a:avLst/>
          </a:prstGeom>
          <a:noFill/>
        </p:spPr>
        <p:txBody>
          <a:bodyPr wrap="square" lIns="0" tIns="0" rIns="0" bIns="0" rtlCol="0">
            <a:noAutofit/>
          </a:bodyPr>
          <a:lstStyle/>
          <a:p>
            <a:r>
              <a:rPr lang="da-DK" sz="11000" b="1" dirty="0">
                <a:solidFill>
                  <a:schemeClr val="accent1"/>
                </a:solidFill>
                <a:latin typeface="Arial" panose="020B0604020202020204" pitchFamily="34" charset="0"/>
                <a:ea typeface="Arial" panose="020B0604020202020204" pitchFamily="34" charset="0"/>
                <a:cs typeface="Arial" panose="020B0604020202020204" pitchFamily="34" charset="0"/>
              </a:rPr>
              <a:t>“</a:t>
            </a:r>
          </a:p>
        </p:txBody>
      </p:sp>
      <p:sp>
        <p:nvSpPr>
          <p:cNvPr id="12" name="Pladsholder til tekst 15"/>
          <p:cNvSpPr>
            <a:spLocks noGrp="1"/>
          </p:cNvSpPr>
          <p:nvPr>
            <p:ph type="body" sz="quarter" idx="10" hasCustomPrompt="1"/>
          </p:nvPr>
        </p:nvSpPr>
        <p:spPr>
          <a:xfrm>
            <a:off x="417251" y="1188244"/>
            <a:ext cx="3539197" cy="2463626"/>
          </a:xfrm>
          <a:prstGeom prst="rect">
            <a:avLst/>
          </a:prstGeom>
          <a:noFill/>
        </p:spPr>
        <p:txBody>
          <a:bodyPr rIns="0" anchor="t" anchorCtr="0">
            <a:noAutofit/>
          </a:bodyPr>
          <a:lstStyle>
            <a:lvl1pPr marL="0" indent="0" algn="l">
              <a:buNone/>
              <a:defRPr sz="2400"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Indsæt citat her</a:t>
            </a:r>
          </a:p>
        </p:txBody>
      </p:sp>
      <p:sp>
        <p:nvSpPr>
          <p:cNvPr id="13" name="Pladsholder til tekst 15"/>
          <p:cNvSpPr>
            <a:spLocks noGrp="1"/>
          </p:cNvSpPr>
          <p:nvPr>
            <p:ph type="body" sz="quarter" idx="11" hasCustomPrompt="1"/>
          </p:nvPr>
        </p:nvSpPr>
        <p:spPr>
          <a:xfrm>
            <a:off x="417251" y="3651870"/>
            <a:ext cx="3539197" cy="540060"/>
          </a:xfrm>
          <a:prstGeom prst="rect">
            <a:avLst/>
          </a:prstGeom>
          <a:noFill/>
        </p:spPr>
        <p:txBody>
          <a:bodyPr rIns="0" bIns="0" anchor="b" anchorCtr="0">
            <a:normAutofit/>
          </a:bodyPr>
          <a:lstStyle>
            <a:lvl1pPr marL="0" indent="0" algn="r">
              <a:buNone/>
              <a:defRPr sz="1200" b="0" i="0" spc="9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Navn Navnesen, </a:t>
            </a:r>
            <a:br>
              <a:rPr lang="da-DK" noProof="0" dirty="0"/>
            </a:br>
            <a:r>
              <a:rPr lang="da-DK" noProof="0" dirty="0"/>
              <a:t>Styrelsen for Dataforsyning og Infrastruktur</a:t>
            </a:r>
          </a:p>
        </p:txBody>
      </p:sp>
      <p:sp>
        <p:nvSpPr>
          <p:cNvPr id="9" name="Tekstfelt 8"/>
          <p:cNvSpPr txBox="1"/>
          <p:nvPr userDrawn="1"/>
        </p:nvSpPr>
        <p:spPr>
          <a:xfrm flipH="1">
            <a:off x="412964" y="4750349"/>
            <a:ext cx="2603535" cy="184666"/>
          </a:xfrm>
          <a:prstGeom prst="rect">
            <a:avLst/>
          </a:prstGeom>
          <a:noFill/>
        </p:spPr>
        <p:txBody>
          <a:bodyPr wrap="square" lIns="0" rtlCol="0" anchor="ctr">
            <a:spAutoFit/>
          </a:bodyPr>
          <a:lstStyle/>
          <a:p>
            <a:r>
              <a:rPr lang="da-DK" sz="600" dirty="0">
                <a:solidFill>
                  <a:schemeClr val="bg1"/>
                </a:solidFill>
                <a:latin typeface="Arial" panose="020B0604020202020204" pitchFamily="34" charset="0"/>
                <a:cs typeface="Arial" panose="020B0604020202020204" pitchFamily="34" charset="0"/>
              </a:rPr>
              <a:t>Styrelsen for Dataforsyning og Infrastruktur</a:t>
            </a:r>
          </a:p>
        </p:txBody>
      </p:sp>
      <p:sp>
        <p:nvSpPr>
          <p:cNvPr id="11" name="Pladsholder til dato 14"/>
          <p:cNvSpPr>
            <a:spLocks noGrp="1"/>
          </p:cNvSpPr>
          <p:nvPr>
            <p:ph type="dt" sz="half" idx="18"/>
          </p:nvPr>
        </p:nvSpPr>
        <p:spPr>
          <a:xfrm>
            <a:off x="6296349" y="4722053"/>
            <a:ext cx="1231973" cy="189198"/>
          </a:xfrm>
          <a:prstGeom prst="rect">
            <a:avLst/>
          </a:prstGeom>
        </p:spPr>
        <p:txBody>
          <a:bodyPr lIns="0" tIns="0" rIns="0" bIns="0" anchor="ctr" anchorCtr="0"/>
          <a:lstStyle>
            <a:lvl1pPr algn="r">
              <a:defRPr sz="675">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5FE68A77-CFC6-4A8C-8389-ED6B4493FECB}" type="datetime2">
              <a:rPr lang="da-DK" smtClean="0"/>
              <a:t>17. september 2025</a:t>
            </a:fld>
            <a:endParaRPr lang="da-DK" dirty="0"/>
          </a:p>
        </p:txBody>
      </p:sp>
      <p:cxnSp>
        <p:nvCxnSpPr>
          <p:cNvPr id="14" name="Lige forbindelse 13"/>
          <p:cNvCxnSpPr/>
          <p:nvPr userDrawn="1"/>
        </p:nvCxnSpPr>
        <p:spPr>
          <a:xfrm flipH="1">
            <a:off x="7629525" y="4614173"/>
            <a:ext cx="1097225"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5"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bg1"/>
                </a:solidFill>
                <a:latin typeface="Arial" panose="020B0604020202020204" pitchFamily="34" charset="0"/>
                <a:ea typeface="Arial" panose="020B0604020202020204" pitchFamily="34" charset="0"/>
              </a:rPr>
              <a:t> Side </a:t>
            </a:r>
            <a:fld id="{24C8C45C-947F-4981-8B3F-4F32E973C901}" type="slidenum">
              <a:rPr lang="da-DK" sz="675" smtClean="0">
                <a:solidFill>
                  <a:schemeClr val="bg1"/>
                </a:solidFill>
                <a:latin typeface="Arial" panose="020B0604020202020204" pitchFamily="34" charset="0"/>
                <a:ea typeface="Arial" panose="020B0604020202020204" pitchFamily="34" charset="0"/>
              </a:rPr>
              <a:pPr algn="r"/>
              <a:t>‹nr.›</a:t>
            </a:fld>
            <a:endParaRPr lang="da-DK" sz="675" dirty="0">
              <a:solidFill>
                <a:schemeClr val="bg1"/>
              </a:solidFill>
              <a:latin typeface="Arial" panose="020B0604020202020204" pitchFamily="34" charset="0"/>
              <a:ea typeface="Arial" panose="020B0604020202020204" pitchFamily="34" charset="0"/>
            </a:endParaRPr>
          </a:p>
        </p:txBody>
      </p:sp>
      <p:sp>
        <p:nvSpPr>
          <p:cNvPr id="26" name="Pladsholder til billede 12"/>
          <p:cNvSpPr>
            <a:spLocks noGrp="1"/>
          </p:cNvSpPr>
          <p:nvPr>
            <p:ph type="pic" sz="quarter" idx="13" hasCustomPrompt="1"/>
          </p:nvPr>
        </p:nvSpPr>
        <p:spPr>
          <a:xfrm>
            <a:off x="4572000" y="0"/>
            <a:ext cx="4572000" cy="5143500"/>
          </a:xfrm>
          <a:prstGeom prst="rect">
            <a:avLst/>
          </a:prstGeom>
          <a:pattFill prst="pct30">
            <a:fgClr>
              <a:schemeClr val="accent1"/>
            </a:fgClr>
            <a:bgClr>
              <a:schemeClr val="bg1"/>
            </a:bgClr>
          </a:pattFill>
        </p:spPr>
        <p:txBody>
          <a:bodyPr tIns="612000" anchor="ctr">
            <a:normAutofit/>
          </a:bodyPr>
          <a:lstStyle>
            <a:lvl1pPr marL="0" indent="0" algn="ctr">
              <a:buNone/>
              <a:defRPr sz="1350">
                <a:solidFill>
                  <a:schemeClr val="tx1"/>
                </a:solidFill>
              </a:defRPr>
            </a:lvl1pPr>
          </a:lstStyle>
          <a:p>
            <a:r>
              <a:rPr lang="da-DK" dirty="0"/>
              <a:t>Klik på ikonet for at tilføje billede</a:t>
            </a:r>
          </a:p>
        </p:txBody>
      </p:sp>
    </p:spTree>
    <p:extLst>
      <p:ext uri="{BB962C8B-B14F-4D97-AF65-F5344CB8AC3E}">
        <p14:creationId xmlns:p14="http://schemas.microsoft.com/office/powerpoint/2010/main" val="4067026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DFI_Spørgsmål_0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A1391962-2B66-B226-D153-102AF2DB025F}"/>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189691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DFI_Spørgsmål_0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ladsholder til tekst 16"/>
          <p:cNvSpPr>
            <a:spLocks noGrp="1"/>
          </p:cNvSpPr>
          <p:nvPr>
            <p:ph type="body" sz="quarter" idx="10" hasCustomPrompt="1"/>
          </p:nvPr>
        </p:nvSpPr>
        <p:spPr>
          <a:xfrm>
            <a:off x="1121569" y="1571996"/>
            <a:ext cx="6899672" cy="1739390"/>
          </a:xfrm>
          <a:prstGeom prst="rect">
            <a:avLst/>
          </a:prstGeom>
          <a:effectLst>
            <a:softEdge rad="0"/>
          </a:effectLst>
        </p:spPr>
        <p:txBody>
          <a:bodyPr lIns="0" anchor="t" anchorCtr="0">
            <a:noAutofit/>
          </a:bodyPr>
          <a:lstStyle>
            <a:lvl1pPr marL="0" indent="0" algn="ctr">
              <a:buNone/>
              <a:defRPr sz="9000" b="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da-DK" noProof="0" dirty="0"/>
              <a:t>Spørgsmål</a:t>
            </a:r>
          </a:p>
        </p:txBody>
      </p:sp>
      <p:sp>
        <p:nvSpPr>
          <p:cNvPr id="4" name="Freeform: Shape 3">
            <a:extLst>
              <a:ext uri="{FF2B5EF4-FFF2-40B4-BE49-F238E27FC236}">
                <a16:creationId xmlns:a16="http://schemas.microsoft.com/office/drawing/2014/main" id="{A5D0D0EB-F299-A815-725A-95FA0610C4C2}"/>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355200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fslutning">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65EE8709-4292-F607-7FBE-E0825008EB6C}"/>
              </a:ext>
            </a:extLst>
          </p:cNvPr>
          <p:cNvSpPr/>
          <p:nvPr userDrawn="1"/>
        </p:nvSpPr>
        <p:spPr>
          <a:xfrm>
            <a:off x="7162566" y="4324706"/>
            <a:ext cx="1568288" cy="486146"/>
          </a:xfrm>
          <a:custGeom>
            <a:avLst/>
            <a:gdLst>
              <a:gd name="connsiteX0" fmla="*/ 1001191 w 10625630"/>
              <a:gd name="connsiteY0" fmla="*/ 2343357 h 3293790"/>
              <a:gd name="connsiteX1" fmla="*/ 2292526 w 10625630"/>
              <a:gd name="connsiteY1" fmla="*/ 2343357 h 3293790"/>
              <a:gd name="connsiteX2" fmla="*/ 2292526 w 10625630"/>
              <a:gd name="connsiteY2" fmla="*/ 2344053 h 3293790"/>
              <a:gd name="connsiteX3" fmla="*/ 2292875 w 10625630"/>
              <a:gd name="connsiteY3" fmla="*/ 2344053 h 3293790"/>
              <a:gd name="connsiteX4" fmla="*/ 2292875 w 10625630"/>
              <a:gd name="connsiteY4" fmla="*/ 2410200 h 3293790"/>
              <a:gd name="connsiteX5" fmla="*/ 1001542 w 10625630"/>
              <a:gd name="connsiteY5" fmla="*/ 2410200 h 3293790"/>
              <a:gd name="connsiteX6" fmla="*/ 1001542 w 10625630"/>
              <a:gd name="connsiteY6" fmla="*/ 2409504 h 3293790"/>
              <a:gd name="connsiteX7" fmla="*/ 1001191 w 10625630"/>
              <a:gd name="connsiteY7" fmla="*/ 2409504 h 3293790"/>
              <a:gd name="connsiteX8" fmla="*/ 1001191 w 10625630"/>
              <a:gd name="connsiteY8" fmla="*/ 2232020 h 3293790"/>
              <a:gd name="connsiteX9" fmla="*/ 2292527 w 10625630"/>
              <a:gd name="connsiteY9" fmla="*/ 2232020 h 3293790"/>
              <a:gd name="connsiteX10" fmla="*/ 2292527 w 10625630"/>
              <a:gd name="connsiteY10" fmla="*/ 2232717 h 3293790"/>
              <a:gd name="connsiteX11" fmla="*/ 2292875 w 10625630"/>
              <a:gd name="connsiteY11" fmla="*/ 2232717 h 3293790"/>
              <a:gd name="connsiteX12" fmla="*/ 2292875 w 10625630"/>
              <a:gd name="connsiteY12" fmla="*/ 2298864 h 3293790"/>
              <a:gd name="connsiteX13" fmla="*/ 1001542 w 10625630"/>
              <a:gd name="connsiteY13" fmla="*/ 2298864 h 3293790"/>
              <a:gd name="connsiteX14" fmla="*/ 1001542 w 10625630"/>
              <a:gd name="connsiteY14" fmla="*/ 2298167 h 3293790"/>
              <a:gd name="connsiteX15" fmla="*/ 1001191 w 10625630"/>
              <a:gd name="connsiteY15" fmla="*/ 2298167 h 3293790"/>
              <a:gd name="connsiteX16" fmla="*/ 1001191 w 10625630"/>
              <a:gd name="connsiteY16" fmla="*/ 2120684 h 3293790"/>
              <a:gd name="connsiteX17" fmla="*/ 2292526 w 10625630"/>
              <a:gd name="connsiteY17" fmla="*/ 2120684 h 3293790"/>
              <a:gd name="connsiteX18" fmla="*/ 2292526 w 10625630"/>
              <a:gd name="connsiteY18" fmla="*/ 2121380 h 3293790"/>
              <a:gd name="connsiteX19" fmla="*/ 2292875 w 10625630"/>
              <a:gd name="connsiteY19" fmla="*/ 2121380 h 3293790"/>
              <a:gd name="connsiteX20" fmla="*/ 2292875 w 10625630"/>
              <a:gd name="connsiteY20" fmla="*/ 2187527 h 3293790"/>
              <a:gd name="connsiteX21" fmla="*/ 1001542 w 10625630"/>
              <a:gd name="connsiteY21" fmla="*/ 2187527 h 3293790"/>
              <a:gd name="connsiteX22" fmla="*/ 1001542 w 10625630"/>
              <a:gd name="connsiteY22" fmla="*/ 2186831 h 3293790"/>
              <a:gd name="connsiteX23" fmla="*/ 1001191 w 10625630"/>
              <a:gd name="connsiteY23" fmla="*/ 2186831 h 3293790"/>
              <a:gd name="connsiteX24" fmla="*/ 7350432 w 10625630"/>
              <a:gd name="connsiteY24" fmla="*/ 1737238 h 3293790"/>
              <a:gd name="connsiteX25" fmla="*/ 7219808 w 10625630"/>
              <a:gd name="connsiteY25" fmla="*/ 1813691 h 3293790"/>
              <a:gd name="connsiteX26" fmla="*/ 7242089 w 10625630"/>
              <a:gd name="connsiteY26" fmla="*/ 1865912 h 3293790"/>
              <a:gd name="connsiteX27" fmla="*/ 7299323 w 10625630"/>
              <a:gd name="connsiteY27" fmla="*/ 1884712 h 3293790"/>
              <a:gd name="connsiteX28" fmla="*/ 7299323 w 10625630"/>
              <a:gd name="connsiteY28" fmla="*/ 1884782 h 3293790"/>
              <a:gd name="connsiteX29" fmla="*/ 7362686 w 10625630"/>
              <a:gd name="connsiteY29" fmla="*/ 1867514 h 3293790"/>
              <a:gd name="connsiteX30" fmla="*/ 7406135 w 10625630"/>
              <a:gd name="connsiteY30" fmla="*/ 1822534 h 3293790"/>
              <a:gd name="connsiteX31" fmla="*/ 7406135 w 10625630"/>
              <a:gd name="connsiteY31" fmla="*/ 1737238 h 3293790"/>
              <a:gd name="connsiteX32" fmla="*/ 6668556 w 10625630"/>
              <a:gd name="connsiteY32" fmla="*/ 1737238 h 3293790"/>
              <a:gd name="connsiteX33" fmla="*/ 6537932 w 10625630"/>
              <a:gd name="connsiteY33" fmla="*/ 1813691 h 3293790"/>
              <a:gd name="connsiteX34" fmla="*/ 6560214 w 10625630"/>
              <a:gd name="connsiteY34" fmla="*/ 1865912 h 3293790"/>
              <a:gd name="connsiteX35" fmla="*/ 6617449 w 10625630"/>
              <a:gd name="connsiteY35" fmla="*/ 1884712 h 3293790"/>
              <a:gd name="connsiteX36" fmla="*/ 6617518 w 10625630"/>
              <a:gd name="connsiteY36" fmla="*/ 1884782 h 3293790"/>
              <a:gd name="connsiteX37" fmla="*/ 6680881 w 10625630"/>
              <a:gd name="connsiteY37" fmla="*/ 1867514 h 3293790"/>
              <a:gd name="connsiteX38" fmla="*/ 6724259 w 10625630"/>
              <a:gd name="connsiteY38" fmla="*/ 1822534 h 3293790"/>
              <a:gd name="connsiteX39" fmla="*/ 6724259 w 10625630"/>
              <a:gd name="connsiteY39" fmla="*/ 1737238 h 3293790"/>
              <a:gd name="connsiteX40" fmla="*/ 5799937 w 10625630"/>
              <a:gd name="connsiteY40" fmla="*/ 1737238 h 3293790"/>
              <a:gd name="connsiteX41" fmla="*/ 5669314 w 10625630"/>
              <a:gd name="connsiteY41" fmla="*/ 1813691 h 3293790"/>
              <a:gd name="connsiteX42" fmla="*/ 5691595 w 10625630"/>
              <a:gd name="connsiteY42" fmla="*/ 1865912 h 3293790"/>
              <a:gd name="connsiteX43" fmla="*/ 5748830 w 10625630"/>
              <a:gd name="connsiteY43" fmla="*/ 1884712 h 3293790"/>
              <a:gd name="connsiteX44" fmla="*/ 5748899 w 10625630"/>
              <a:gd name="connsiteY44" fmla="*/ 1884782 h 3293790"/>
              <a:gd name="connsiteX45" fmla="*/ 5812262 w 10625630"/>
              <a:gd name="connsiteY45" fmla="*/ 1867514 h 3293790"/>
              <a:gd name="connsiteX46" fmla="*/ 5855640 w 10625630"/>
              <a:gd name="connsiteY46" fmla="*/ 1822534 h 3293790"/>
              <a:gd name="connsiteX47" fmla="*/ 5855640 w 10625630"/>
              <a:gd name="connsiteY47" fmla="*/ 1737238 h 3293790"/>
              <a:gd name="connsiteX48" fmla="*/ 6201068 w 10625630"/>
              <a:gd name="connsiteY48" fmla="*/ 1575908 h 3293790"/>
              <a:gd name="connsiteX49" fmla="*/ 6119603 w 10625630"/>
              <a:gd name="connsiteY49" fmla="*/ 1616224 h 3293790"/>
              <a:gd name="connsiteX50" fmla="*/ 6090428 w 10625630"/>
              <a:gd name="connsiteY50" fmla="*/ 1735707 h 3293790"/>
              <a:gd name="connsiteX51" fmla="*/ 6119603 w 10625630"/>
              <a:gd name="connsiteY51" fmla="*/ 1846347 h 3293790"/>
              <a:gd name="connsiteX52" fmla="*/ 6200302 w 10625630"/>
              <a:gd name="connsiteY52" fmla="*/ 1886314 h 3293790"/>
              <a:gd name="connsiteX53" fmla="*/ 6299036 w 10625630"/>
              <a:gd name="connsiteY53" fmla="*/ 1825597 h 3293790"/>
              <a:gd name="connsiteX54" fmla="*/ 6299036 w 10625630"/>
              <a:gd name="connsiteY54" fmla="*/ 1634675 h 3293790"/>
              <a:gd name="connsiteX55" fmla="*/ 6201068 w 10625630"/>
              <a:gd name="connsiteY55" fmla="*/ 1575908 h 3293790"/>
              <a:gd name="connsiteX56" fmla="*/ 10047084 w 10625630"/>
              <a:gd name="connsiteY56" fmla="*/ 1574029 h 3293790"/>
              <a:gd name="connsiteX57" fmla="*/ 9974879 w 10625630"/>
              <a:gd name="connsiteY57" fmla="*/ 1605362 h 3293790"/>
              <a:gd name="connsiteX58" fmla="*/ 9938742 w 10625630"/>
              <a:gd name="connsiteY58" fmla="*/ 1693163 h 3293790"/>
              <a:gd name="connsiteX59" fmla="*/ 10147001 w 10625630"/>
              <a:gd name="connsiteY59" fmla="*/ 1693163 h 3293790"/>
              <a:gd name="connsiteX60" fmla="*/ 10147001 w 10625630"/>
              <a:gd name="connsiteY60" fmla="*/ 1687802 h 3293790"/>
              <a:gd name="connsiteX61" fmla="*/ 10117827 w 10625630"/>
              <a:gd name="connsiteY61" fmla="*/ 1603830 h 3293790"/>
              <a:gd name="connsiteX62" fmla="*/ 10047154 w 10625630"/>
              <a:gd name="connsiteY62" fmla="*/ 1574029 h 3293790"/>
              <a:gd name="connsiteX63" fmla="*/ 9038302 w 10625630"/>
              <a:gd name="connsiteY63" fmla="*/ 1574029 h 3293790"/>
              <a:gd name="connsiteX64" fmla="*/ 8966097 w 10625630"/>
              <a:gd name="connsiteY64" fmla="*/ 1605362 h 3293790"/>
              <a:gd name="connsiteX65" fmla="*/ 8929960 w 10625630"/>
              <a:gd name="connsiteY65" fmla="*/ 1693163 h 3293790"/>
              <a:gd name="connsiteX66" fmla="*/ 9138220 w 10625630"/>
              <a:gd name="connsiteY66" fmla="*/ 1693163 h 3293790"/>
              <a:gd name="connsiteX67" fmla="*/ 9138220 w 10625630"/>
              <a:gd name="connsiteY67" fmla="*/ 1687802 h 3293790"/>
              <a:gd name="connsiteX68" fmla="*/ 9109045 w 10625630"/>
              <a:gd name="connsiteY68" fmla="*/ 1603830 h 3293790"/>
              <a:gd name="connsiteX69" fmla="*/ 9038372 w 10625630"/>
              <a:gd name="connsiteY69" fmla="*/ 1574029 h 3293790"/>
              <a:gd name="connsiteX70" fmla="*/ 4738934 w 10625630"/>
              <a:gd name="connsiteY70" fmla="*/ 1523269 h 3293790"/>
              <a:gd name="connsiteX71" fmla="*/ 4810025 w 10625630"/>
              <a:gd name="connsiteY71" fmla="*/ 1523269 h 3293790"/>
              <a:gd name="connsiteX72" fmla="*/ 4810025 w 10625630"/>
              <a:gd name="connsiteY72" fmla="*/ 1938953 h 3293790"/>
              <a:gd name="connsiteX73" fmla="*/ 4738934 w 10625630"/>
              <a:gd name="connsiteY73" fmla="*/ 1938953 h 3293790"/>
              <a:gd name="connsiteX74" fmla="*/ 8201155 w 10625630"/>
              <a:gd name="connsiteY74" fmla="*/ 1523130 h 3293790"/>
              <a:gd name="connsiteX75" fmla="*/ 8278791 w 10625630"/>
              <a:gd name="connsiteY75" fmla="*/ 1523130 h 3293790"/>
              <a:gd name="connsiteX76" fmla="*/ 8382538 w 10625630"/>
              <a:gd name="connsiteY76" fmla="*/ 1834719 h 3293790"/>
              <a:gd name="connsiteX77" fmla="*/ 8382608 w 10625630"/>
              <a:gd name="connsiteY77" fmla="*/ 1834858 h 3293790"/>
              <a:gd name="connsiteX78" fmla="*/ 8479391 w 10625630"/>
              <a:gd name="connsiteY78" fmla="*/ 1523269 h 3293790"/>
              <a:gd name="connsiteX79" fmla="*/ 8555426 w 10625630"/>
              <a:gd name="connsiteY79" fmla="*/ 1523269 h 3293790"/>
              <a:gd name="connsiteX80" fmla="*/ 8388317 w 10625630"/>
              <a:gd name="connsiteY80" fmla="*/ 2003081 h 3293790"/>
              <a:gd name="connsiteX81" fmla="*/ 8265005 w 10625630"/>
              <a:gd name="connsiteY81" fmla="*/ 2106828 h 3293790"/>
              <a:gd name="connsiteX82" fmla="*/ 8251566 w 10625630"/>
              <a:gd name="connsiteY82" fmla="*/ 2105644 h 3293790"/>
              <a:gd name="connsiteX83" fmla="*/ 8225038 w 10625630"/>
              <a:gd name="connsiteY83" fmla="*/ 2100631 h 3293790"/>
              <a:gd name="connsiteX84" fmla="*/ 8225038 w 10625630"/>
              <a:gd name="connsiteY84" fmla="*/ 2042978 h 3293790"/>
              <a:gd name="connsiteX85" fmla="*/ 8244256 w 10625630"/>
              <a:gd name="connsiteY85" fmla="*/ 2044510 h 3293790"/>
              <a:gd name="connsiteX86" fmla="*/ 8300515 w 10625630"/>
              <a:gd name="connsiteY86" fmla="*/ 2029888 h 3293790"/>
              <a:gd name="connsiteX87" fmla="*/ 8333728 w 10625630"/>
              <a:gd name="connsiteY87" fmla="*/ 1976483 h 3293790"/>
              <a:gd name="connsiteX88" fmla="*/ 8349465 w 10625630"/>
              <a:gd name="connsiteY88" fmla="*/ 1934218 h 3293790"/>
              <a:gd name="connsiteX89" fmla="*/ 7322510 w 10625630"/>
              <a:gd name="connsiteY89" fmla="*/ 1515749 h 3293790"/>
              <a:gd name="connsiteX90" fmla="*/ 7435100 w 10625630"/>
              <a:gd name="connsiteY90" fmla="*/ 1551677 h 3293790"/>
              <a:gd name="connsiteX91" fmla="*/ 7477365 w 10625630"/>
              <a:gd name="connsiteY91" fmla="*/ 1650620 h 3293790"/>
              <a:gd name="connsiteX92" fmla="*/ 7477365 w 10625630"/>
              <a:gd name="connsiteY92" fmla="*/ 1841960 h 3293790"/>
              <a:gd name="connsiteX93" fmla="*/ 7491987 w 10625630"/>
              <a:gd name="connsiteY93" fmla="*/ 1933034 h 3293790"/>
              <a:gd name="connsiteX94" fmla="*/ 7491987 w 10625630"/>
              <a:gd name="connsiteY94" fmla="*/ 1939162 h 3293790"/>
              <a:gd name="connsiteX95" fmla="*/ 7417484 w 10625630"/>
              <a:gd name="connsiteY95" fmla="*/ 1939162 h 3293790"/>
              <a:gd name="connsiteX96" fmla="*/ 7417275 w 10625630"/>
              <a:gd name="connsiteY96" fmla="*/ 1938953 h 3293790"/>
              <a:gd name="connsiteX97" fmla="*/ 7407318 w 10625630"/>
              <a:gd name="connsiteY97" fmla="*/ 1895156 h 3293790"/>
              <a:gd name="connsiteX98" fmla="*/ 7289018 w 10625630"/>
              <a:gd name="connsiteY98" fmla="*/ 1946612 h 3293790"/>
              <a:gd name="connsiteX99" fmla="*/ 7188196 w 10625630"/>
              <a:gd name="connsiteY99" fmla="*/ 1911867 h 3293790"/>
              <a:gd name="connsiteX100" fmla="*/ 7148786 w 10625630"/>
              <a:gd name="connsiteY100" fmla="*/ 1823717 h 3293790"/>
              <a:gd name="connsiteX101" fmla="*/ 7198153 w 10625630"/>
              <a:gd name="connsiteY101" fmla="*/ 1722895 h 3293790"/>
              <a:gd name="connsiteX102" fmla="*/ 7337063 w 10625630"/>
              <a:gd name="connsiteY102" fmla="*/ 1686966 h 3293790"/>
              <a:gd name="connsiteX103" fmla="*/ 7406204 w 10625630"/>
              <a:gd name="connsiteY103" fmla="*/ 1686966 h 3293790"/>
              <a:gd name="connsiteX104" fmla="*/ 7406204 w 10625630"/>
              <a:gd name="connsiteY104" fmla="*/ 1654310 h 3293790"/>
              <a:gd name="connsiteX105" fmla="*/ 7383923 w 10625630"/>
              <a:gd name="connsiteY105" fmla="*/ 1594987 h 3293790"/>
              <a:gd name="connsiteX106" fmla="*/ 7318263 w 10625630"/>
              <a:gd name="connsiteY106" fmla="*/ 1572914 h 3293790"/>
              <a:gd name="connsiteX107" fmla="*/ 7254483 w 10625630"/>
              <a:gd name="connsiteY107" fmla="*/ 1592132 h 3293790"/>
              <a:gd name="connsiteX108" fmla="*/ 7228720 w 10625630"/>
              <a:gd name="connsiteY108" fmla="*/ 1638644 h 3293790"/>
              <a:gd name="connsiteX109" fmla="*/ 7157281 w 10625630"/>
              <a:gd name="connsiteY109" fmla="*/ 1638644 h 3293790"/>
              <a:gd name="connsiteX110" fmla="*/ 7179353 w 10625630"/>
              <a:gd name="connsiteY110" fmla="*/ 1578554 h 3293790"/>
              <a:gd name="connsiteX111" fmla="*/ 7239303 w 10625630"/>
              <a:gd name="connsiteY111" fmla="*/ 1532669 h 3293790"/>
              <a:gd name="connsiteX112" fmla="*/ 7322510 w 10625630"/>
              <a:gd name="connsiteY112" fmla="*/ 1515749 h 3293790"/>
              <a:gd name="connsiteX113" fmla="*/ 6640565 w 10625630"/>
              <a:gd name="connsiteY113" fmla="*/ 1515749 h 3293790"/>
              <a:gd name="connsiteX114" fmla="*/ 6753155 w 10625630"/>
              <a:gd name="connsiteY114" fmla="*/ 1551677 h 3293790"/>
              <a:gd name="connsiteX115" fmla="*/ 6795420 w 10625630"/>
              <a:gd name="connsiteY115" fmla="*/ 1650620 h 3293790"/>
              <a:gd name="connsiteX116" fmla="*/ 6795420 w 10625630"/>
              <a:gd name="connsiteY116" fmla="*/ 1841960 h 3293790"/>
              <a:gd name="connsiteX117" fmla="*/ 6810042 w 10625630"/>
              <a:gd name="connsiteY117" fmla="*/ 1933034 h 3293790"/>
              <a:gd name="connsiteX118" fmla="*/ 6810042 w 10625630"/>
              <a:gd name="connsiteY118" fmla="*/ 1939162 h 3293790"/>
              <a:gd name="connsiteX119" fmla="*/ 6735539 w 10625630"/>
              <a:gd name="connsiteY119" fmla="*/ 1939162 h 3293790"/>
              <a:gd name="connsiteX120" fmla="*/ 6735400 w 10625630"/>
              <a:gd name="connsiteY120" fmla="*/ 1938953 h 3293790"/>
              <a:gd name="connsiteX121" fmla="*/ 6725443 w 10625630"/>
              <a:gd name="connsiteY121" fmla="*/ 1895156 h 3293790"/>
              <a:gd name="connsiteX122" fmla="*/ 6607143 w 10625630"/>
              <a:gd name="connsiteY122" fmla="*/ 1946612 h 3293790"/>
              <a:gd name="connsiteX123" fmla="*/ 6506321 w 10625630"/>
              <a:gd name="connsiteY123" fmla="*/ 1911867 h 3293790"/>
              <a:gd name="connsiteX124" fmla="*/ 6466911 w 10625630"/>
              <a:gd name="connsiteY124" fmla="*/ 1823717 h 3293790"/>
              <a:gd name="connsiteX125" fmla="*/ 6516278 w 10625630"/>
              <a:gd name="connsiteY125" fmla="*/ 1722895 h 3293790"/>
              <a:gd name="connsiteX126" fmla="*/ 6655188 w 10625630"/>
              <a:gd name="connsiteY126" fmla="*/ 1686966 h 3293790"/>
              <a:gd name="connsiteX127" fmla="*/ 6724329 w 10625630"/>
              <a:gd name="connsiteY127" fmla="*/ 1686966 h 3293790"/>
              <a:gd name="connsiteX128" fmla="*/ 6724329 w 10625630"/>
              <a:gd name="connsiteY128" fmla="*/ 1654310 h 3293790"/>
              <a:gd name="connsiteX129" fmla="*/ 6702048 w 10625630"/>
              <a:gd name="connsiteY129" fmla="*/ 1594987 h 3293790"/>
              <a:gd name="connsiteX130" fmla="*/ 6636318 w 10625630"/>
              <a:gd name="connsiteY130" fmla="*/ 1572914 h 3293790"/>
              <a:gd name="connsiteX131" fmla="*/ 6572538 w 10625630"/>
              <a:gd name="connsiteY131" fmla="*/ 1592132 h 3293790"/>
              <a:gd name="connsiteX132" fmla="*/ 6546775 w 10625630"/>
              <a:gd name="connsiteY132" fmla="*/ 1638644 h 3293790"/>
              <a:gd name="connsiteX133" fmla="*/ 6475336 w 10625630"/>
              <a:gd name="connsiteY133" fmla="*/ 1638644 h 3293790"/>
              <a:gd name="connsiteX134" fmla="*/ 6497408 w 10625630"/>
              <a:gd name="connsiteY134" fmla="*/ 1578554 h 3293790"/>
              <a:gd name="connsiteX135" fmla="*/ 6557359 w 10625630"/>
              <a:gd name="connsiteY135" fmla="*/ 1532669 h 3293790"/>
              <a:gd name="connsiteX136" fmla="*/ 6640565 w 10625630"/>
              <a:gd name="connsiteY136" fmla="*/ 1515749 h 3293790"/>
              <a:gd name="connsiteX137" fmla="*/ 5772016 w 10625630"/>
              <a:gd name="connsiteY137" fmla="*/ 1515749 h 3293790"/>
              <a:gd name="connsiteX138" fmla="*/ 5884606 w 10625630"/>
              <a:gd name="connsiteY138" fmla="*/ 1551677 h 3293790"/>
              <a:gd name="connsiteX139" fmla="*/ 5926871 w 10625630"/>
              <a:gd name="connsiteY139" fmla="*/ 1650620 h 3293790"/>
              <a:gd name="connsiteX140" fmla="*/ 5926871 w 10625630"/>
              <a:gd name="connsiteY140" fmla="*/ 1841960 h 3293790"/>
              <a:gd name="connsiteX141" fmla="*/ 5941493 w 10625630"/>
              <a:gd name="connsiteY141" fmla="*/ 1933034 h 3293790"/>
              <a:gd name="connsiteX142" fmla="*/ 5941493 w 10625630"/>
              <a:gd name="connsiteY142" fmla="*/ 1939162 h 3293790"/>
              <a:gd name="connsiteX143" fmla="*/ 5866990 w 10625630"/>
              <a:gd name="connsiteY143" fmla="*/ 1939162 h 3293790"/>
              <a:gd name="connsiteX144" fmla="*/ 5866851 w 10625630"/>
              <a:gd name="connsiteY144" fmla="*/ 1938953 h 3293790"/>
              <a:gd name="connsiteX145" fmla="*/ 5856894 w 10625630"/>
              <a:gd name="connsiteY145" fmla="*/ 1895156 h 3293790"/>
              <a:gd name="connsiteX146" fmla="*/ 5738594 w 10625630"/>
              <a:gd name="connsiteY146" fmla="*/ 1946612 h 3293790"/>
              <a:gd name="connsiteX147" fmla="*/ 5637772 w 10625630"/>
              <a:gd name="connsiteY147" fmla="*/ 1911867 h 3293790"/>
              <a:gd name="connsiteX148" fmla="*/ 5598362 w 10625630"/>
              <a:gd name="connsiteY148" fmla="*/ 1823717 h 3293790"/>
              <a:gd name="connsiteX149" fmla="*/ 5647729 w 10625630"/>
              <a:gd name="connsiteY149" fmla="*/ 1722895 h 3293790"/>
              <a:gd name="connsiteX150" fmla="*/ 5786639 w 10625630"/>
              <a:gd name="connsiteY150" fmla="*/ 1686966 h 3293790"/>
              <a:gd name="connsiteX151" fmla="*/ 5855780 w 10625630"/>
              <a:gd name="connsiteY151" fmla="*/ 1686966 h 3293790"/>
              <a:gd name="connsiteX152" fmla="*/ 5855780 w 10625630"/>
              <a:gd name="connsiteY152" fmla="*/ 1654310 h 3293790"/>
              <a:gd name="connsiteX153" fmla="*/ 5833499 w 10625630"/>
              <a:gd name="connsiteY153" fmla="*/ 1594987 h 3293790"/>
              <a:gd name="connsiteX154" fmla="*/ 5767769 w 10625630"/>
              <a:gd name="connsiteY154" fmla="*/ 1572914 h 3293790"/>
              <a:gd name="connsiteX155" fmla="*/ 5703989 w 10625630"/>
              <a:gd name="connsiteY155" fmla="*/ 1592132 h 3293790"/>
              <a:gd name="connsiteX156" fmla="*/ 5678226 w 10625630"/>
              <a:gd name="connsiteY156" fmla="*/ 1638644 h 3293790"/>
              <a:gd name="connsiteX157" fmla="*/ 5606787 w 10625630"/>
              <a:gd name="connsiteY157" fmla="*/ 1638644 h 3293790"/>
              <a:gd name="connsiteX158" fmla="*/ 5628859 w 10625630"/>
              <a:gd name="connsiteY158" fmla="*/ 1578554 h 3293790"/>
              <a:gd name="connsiteX159" fmla="*/ 5688810 w 10625630"/>
              <a:gd name="connsiteY159" fmla="*/ 1532669 h 3293790"/>
              <a:gd name="connsiteX160" fmla="*/ 5772016 w 10625630"/>
              <a:gd name="connsiteY160" fmla="*/ 1515749 h 3293790"/>
              <a:gd name="connsiteX161" fmla="*/ 10047014 w 10625630"/>
              <a:gd name="connsiteY161" fmla="*/ 1515610 h 3293790"/>
              <a:gd name="connsiteX162" fmla="*/ 10173043 w 10625630"/>
              <a:gd name="connsiteY162" fmla="*/ 1569015 h 3293790"/>
              <a:gd name="connsiteX163" fmla="*/ 10218023 w 10625630"/>
              <a:gd name="connsiteY163" fmla="*/ 1721920 h 3293790"/>
              <a:gd name="connsiteX164" fmla="*/ 10218023 w 10625630"/>
              <a:gd name="connsiteY164" fmla="*/ 1751512 h 3293790"/>
              <a:gd name="connsiteX165" fmla="*/ 9936444 w 10625630"/>
              <a:gd name="connsiteY165" fmla="*/ 1751512 h 3293790"/>
              <a:gd name="connsiteX166" fmla="*/ 9972372 w 10625630"/>
              <a:gd name="connsiteY166" fmla="*/ 1850803 h 3293790"/>
              <a:gd name="connsiteX167" fmla="*/ 10059757 w 10625630"/>
              <a:gd name="connsiteY167" fmla="*/ 1888611 h 3293790"/>
              <a:gd name="connsiteX168" fmla="*/ 10123536 w 10625630"/>
              <a:gd name="connsiteY168" fmla="*/ 1873224 h 3293790"/>
              <a:gd name="connsiteX169" fmla="*/ 10169283 w 10625630"/>
              <a:gd name="connsiteY169" fmla="*/ 1832491 h 3293790"/>
              <a:gd name="connsiteX170" fmla="*/ 10212661 w 10625630"/>
              <a:gd name="connsiteY170" fmla="*/ 1866330 h 3293790"/>
              <a:gd name="connsiteX171" fmla="*/ 10055927 w 10625630"/>
              <a:gd name="connsiteY171" fmla="*/ 1946612 h 3293790"/>
              <a:gd name="connsiteX172" fmla="*/ 10055927 w 10625630"/>
              <a:gd name="connsiteY172" fmla="*/ 1946682 h 3293790"/>
              <a:gd name="connsiteX173" fmla="*/ 9918410 w 10625630"/>
              <a:gd name="connsiteY173" fmla="*/ 1891188 h 3293790"/>
              <a:gd name="connsiteX174" fmla="*/ 9865353 w 10625630"/>
              <a:gd name="connsiteY174" fmla="*/ 1742670 h 3293790"/>
              <a:gd name="connsiteX175" fmla="*/ 9865353 w 10625630"/>
              <a:gd name="connsiteY175" fmla="*/ 1729579 h 3293790"/>
              <a:gd name="connsiteX176" fmla="*/ 9888957 w 10625630"/>
              <a:gd name="connsiteY176" fmla="*/ 1619148 h 3293790"/>
              <a:gd name="connsiteX177" fmla="*/ 9955035 w 10625630"/>
              <a:gd name="connsiteY177" fmla="*/ 1543113 h 3293790"/>
              <a:gd name="connsiteX178" fmla="*/ 10047014 w 10625630"/>
              <a:gd name="connsiteY178" fmla="*/ 1515610 h 3293790"/>
              <a:gd name="connsiteX179" fmla="*/ 9629939 w 10625630"/>
              <a:gd name="connsiteY179" fmla="*/ 1515610 h 3293790"/>
              <a:gd name="connsiteX180" fmla="*/ 9744617 w 10625630"/>
              <a:gd name="connsiteY180" fmla="*/ 1552096 h 3293790"/>
              <a:gd name="connsiteX181" fmla="*/ 9788622 w 10625630"/>
              <a:gd name="connsiteY181" fmla="*/ 1645468 h 3293790"/>
              <a:gd name="connsiteX182" fmla="*/ 9717183 w 10625630"/>
              <a:gd name="connsiteY182" fmla="*/ 1645468 h 3293790"/>
              <a:gd name="connsiteX183" fmla="*/ 9692396 w 10625630"/>
              <a:gd name="connsiteY183" fmla="*/ 1595126 h 3293790"/>
              <a:gd name="connsiteX184" fmla="*/ 9629939 w 10625630"/>
              <a:gd name="connsiteY184" fmla="*/ 1574029 h 3293790"/>
              <a:gd name="connsiteX185" fmla="*/ 9569222 w 10625630"/>
              <a:gd name="connsiteY185" fmla="*/ 1590948 h 3293790"/>
              <a:gd name="connsiteX186" fmla="*/ 9547289 w 10625630"/>
              <a:gd name="connsiteY186" fmla="*/ 1635093 h 3293790"/>
              <a:gd name="connsiteX187" fmla="*/ 9567620 w 10625630"/>
              <a:gd name="connsiteY187" fmla="*/ 1673876 h 3293790"/>
              <a:gd name="connsiteX188" fmla="*/ 9641219 w 10625630"/>
              <a:gd name="connsiteY188" fmla="*/ 1698873 h 3293790"/>
              <a:gd name="connsiteX189" fmla="*/ 9727488 w 10625630"/>
              <a:gd name="connsiteY189" fmla="*/ 1727282 h 3293790"/>
              <a:gd name="connsiteX190" fmla="*/ 9776507 w 10625630"/>
              <a:gd name="connsiteY190" fmla="*/ 1767040 h 3293790"/>
              <a:gd name="connsiteX191" fmla="*/ 9792452 w 10625630"/>
              <a:gd name="connsiteY191" fmla="*/ 1823717 h 3293790"/>
              <a:gd name="connsiteX192" fmla="*/ 9747890 w 10625630"/>
              <a:gd name="connsiteY192" fmla="*/ 1913051 h 3293790"/>
              <a:gd name="connsiteX193" fmla="*/ 9632236 w 10625630"/>
              <a:gd name="connsiteY193" fmla="*/ 1946682 h 3293790"/>
              <a:gd name="connsiteX194" fmla="*/ 9543877 w 10625630"/>
              <a:gd name="connsiteY194" fmla="*/ 1928996 h 3293790"/>
              <a:gd name="connsiteX195" fmla="*/ 9483787 w 10625630"/>
              <a:gd name="connsiteY195" fmla="*/ 1879629 h 3293790"/>
              <a:gd name="connsiteX196" fmla="*/ 9462063 w 10625630"/>
              <a:gd name="connsiteY196" fmla="*/ 1811045 h 3293790"/>
              <a:gd name="connsiteX197" fmla="*/ 9533155 w 10625630"/>
              <a:gd name="connsiteY197" fmla="*/ 1811045 h 3293790"/>
              <a:gd name="connsiteX198" fmla="*/ 9561772 w 10625630"/>
              <a:gd name="connsiteY198" fmla="*/ 1867723 h 3293790"/>
              <a:gd name="connsiteX199" fmla="*/ 9632236 w 10625630"/>
              <a:gd name="connsiteY199" fmla="*/ 1888681 h 3293790"/>
              <a:gd name="connsiteX200" fmla="*/ 9696991 w 10625630"/>
              <a:gd name="connsiteY200" fmla="*/ 1872388 h 3293790"/>
              <a:gd name="connsiteX201" fmla="*/ 9721361 w 10625630"/>
              <a:gd name="connsiteY201" fmla="*/ 1828800 h 3293790"/>
              <a:gd name="connsiteX202" fmla="*/ 9721361 w 10625630"/>
              <a:gd name="connsiteY202" fmla="*/ 1828731 h 3293790"/>
              <a:gd name="connsiteX203" fmla="*/ 9699636 w 10625630"/>
              <a:gd name="connsiteY203" fmla="*/ 1783959 h 3293790"/>
              <a:gd name="connsiteX204" fmla="*/ 9623950 w 10625630"/>
              <a:gd name="connsiteY204" fmla="*/ 1756456 h 3293790"/>
              <a:gd name="connsiteX205" fmla="*/ 9538307 w 10625630"/>
              <a:gd name="connsiteY205" fmla="*/ 1728813 h 3293790"/>
              <a:gd name="connsiteX206" fmla="*/ 9491447 w 10625630"/>
              <a:gd name="connsiteY206" fmla="*/ 1690378 h 3293790"/>
              <a:gd name="connsiteX207" fmla="*/ 9476268 w 10625630"/>
              <a:gd name="connsiteY207" fmla="*/ 1637391 h 3293790"/>
              <a:gd name="connsiteX208" fmla="*/ 9519507 w 10625630"/>
              <a:gd name="connsiteY208" fmla="*/ 1550981 h 3293790"/>
              <a:gd name="connsiteX209" fmla="*/ 9629939 w 10625630"/>
              <a:gd name="connsiteY209" fmla="*/ 1515610 h 3293790"/>
              <a:gd name="connsiteX210" fmla="*/ 9038232 w 10625630"/>
              <a:gd name="connsiteY210" fmla="*/ 1515610 h 3293790"/>
              <a:gd name="connsiteX211" fmla="*/ 9164261 w 10625630"/>
              <a:gd name="connsiteY211" fmla="*/ 1569015 h 3293790"/>
              <a:gd name="connsiteX212" fmla="*/ 9209241 w 10625630"/>
              <a:gd name="connsiteY212" fmla="*/ 1721920 h 3293790"/>
              <a:gd name="connsiteX213" fmla="*/ 9209241 w 10625630"/>
              <a:gd name="connsiteY213" fmla="*/ 1751512 h 3293790"/>
              <a:gd name="connsiteX214" fmla="*/ 8927662 w 10625630"/>
              <a:gd name="connsiteY214" fmla="*/ 1751512 h 3293790"/>
              <a:gd name="connsiteX215" fmla="*/ 8963590 w 10625630"/>
              <a:gd name="connsiteY215" fmla="*/ 1850803 h 3293790"/>
              <a:gd name="connsiteX216" fmla="*/ 9050975 w 10625630"/>
              <a:gd name="connsiteY216" fmla="*/ 1888611 h 3293790"/>
              <a:gd name="connsiteX217" fmla="*/ 9114754 w 10625630"/>
              <a:gd name="connsiteY217" fmla="*/ 1873224 h 3293790"/>
              <a:gd name="connsiteX218" fmla="*/ 9160501 w 10625630"/>
              <a:gd name="connsiteY218" fmla="*/ 1832491 h 3293790"/>
              <a:gd name="connsiteX219" fmla="*/ 9203879 w 10625630"/>
              <a:gd name="connsiteY219" fmla="*/ 1866330 h 3293790"/>
              <a:gd name="connsiteX220" fmla="*/ 9047145 w 10625630"/>
              <a:gd name="connsiteY220" fmla="*/ 1946612 h 3293790"/>
              <a:gd name="connsiteX221" fmla="*/ 9047145 w 10625630"/>
              <a:gd name="connsiteY221" fmla="*/ 1946682 h 3293790"/>
              <a:gd name="connsiteX222" fmla="*/ 8909628 w 10625630"/>
              <a:gd name="connsiteY222" fmla="*/ 1891188 h 3293790"/>
              <a:gd name="connsiteX223" fmla="*/ 8856571 w 10625630"/>
              <a:gd name="connsiteY223" fmla="*/ 1742670 h 3293790"/>
              <a:gd name="connsiteX224" fmla="*/ 8856571 w 10625630"/>
              <a:gd name="connsiteY224" fmla="*/ 1729579 h 3293790"/>
              <a:gd name="connsiteX225" fmla="*/ 8880175 w 10625630"/>
              <a:gd name="connsiteY225" fmla="*/ 1619148 h 3293790"/>
              <a:gd name="connsiteX226" fmla="*/ 8946253 w 10625630"/>
              <a:gd name="connsiteY226" fmla="*/ 1543113 h 3293790"/>
              <a:gd name="connsiteX227" fmla="*/ 9038232 w 10625630"/>
              <a:gd name="connsiteY227" fmla="*/ 1515610 h 3293790"/>
              <a:gd name="connsiteX228" fmla="*/ 8786734 w 10625630"/>
              <a:gd name="connsiteY228" fmla="*/ 1515610 h 3293790"/>
              <a:gd name="connsiteX229" fmla="*/ 8818276 w 10625630"/>
              <a:gd name="connsiteY229" fmla="*/ 1520971 h 3293790"/>
              <a:gd name="connsiteX230" fmla="*/ 8818276 w 10625630"/>
              <a:gd name="connsiteY230" fmla="*/ 1587049 h 3293790"/>
              <a:gd name="connsiteX231" fmla="*/ 8783322 w 10625630"/>
              <a:gd name="connsiteY231" fmla="*/ 1584334 h 3293790"/>
              <a:gd name="connsiteX232" fmla="*/ 8688418 w 10625630"/>
              <a:gd name="connsiteY232" fmla="*/ 1643866 h 3293790"/>
              <a:gd name="connsiteX233" fmla="*/ 8688418 w 10625630"/>
              <a:gd name="connsiteY233" fmla="*/ 1938953 h 3293790"/>
              <a:gd name="connsiteX234" fmla="*/ 8617327 w 10625630"/>
              <a:gd name="connsiteY234" fmla="*/ 1938953 h 3293790"/>
              <a:gd name="connsiteX235" fmla="*/ 8617327 w 10625630"/>
              <a:gd name="connsiteY235" fmla="*/ 1523269 h 3293790"/>
              <a:gd name="connsiteX236" fmla="*/ 8686469 w 10625630"/>
              <a:gd name="connsiteY236" fmla="*/ 1523269 h 3293790"/>
              <a:gd name="connsiteX237" fmla="*/ 8687652 w 10625630"/>
              <a:gd name="connsiteY237" fmla="*/ 1571313 h 3293790"/>
              <a:gd name="connsiteX238" fmla="*/ 8786734 w 10625630"/>
              <a:gd name="connsiteY238" fmla="*/ 1515610 h 3293790"/>
              <a:gd name="connsiteX239" fmla="*/ 7737637 w 10625630"/>
              <a:gd name="connsiteY239" fmla="*/ 1515610 h 3293790"/>
              <a:gd name="connsiteX240" fmla="*/ 7852315 w 10625630"/>
              <a:gd name="connsiteY240" fmla="*/ 1552096 h 3293790"/>
              <a:gd name="connsiteX241" fmla="*/ 7896320 w 10625630"/>
              <a:gd name="connsiteY241" fmla="*/ 1645468 h 3293790"/>
              <a:gd name="connsiteX242" fmla="*/ 7824881 w 10625630"/>
              <a:gd name="connsiteY242" fmla="*/ 1645468 h 3293790"/>
              <a:gd name="connsiteX243" fmla="*/ 7800094 w 10625630"/>
              <a:gd name="connsiteY243" fmla="*/ 1595126 h 3293790"/>
              <a:gd name="connsiteX244" fmla="*/ 7737637 w 10625630"/>
              <a:gd name="connsiteY244" fmla="*/ 1574029 h 3293790"/>
              <a:gd name="connsiteX245" fmla="*/ 7676920 w 10625630"/>
              <a:gd name="connsiteY245" fmla="*/ 1590948 h 3293790"/>
              <a:gd name="connsiteX246" fmla="*/ 7654988 w 10625630"/>
              <a:gd name="connsiteY246" fmla="*/ 1635093 h 3293790"/>
              <a:gd name="connsiteX247" fmla="*/ 7675319 w 10625630"/>
              <a:gd name="connsiteY247" fmla="*/ 1673876 h 3293790"/>
              <a:gd name="connsiteX248" fmla="*/ 7748917 w 10625630"/>
              <a:gd name="connsiteY248" fmla="*/ 1698873 h 3293790"/>
              <a:gd name="connsiteX249" fmla="*/ 7835187 w 10625630"/>
              <a:gd name="connsiteY249" fmla="*/ 1727282 h 3293790"/>
              <a:gd name="connsiteX250" fmla="*/ 7884205 w 10625630"/>
              <a:gd name="connsiteY250" fmla="*/ 1767040 h 3293790"/>
              <a:gd name="connsiteX251" fmla="*/ 7900150 w 10625630"/>
              <a:gd name="connsiteY251" fmla="*/ 1823717 h 3293790"/>
              <a:gd name="connsiteX252" fmla="*/ 7855588 w 10625630"/>
              <a:gd name="connsiteY252" fmla="*/ 1913051 h 3293790"/>
              <a:gd name="connsiteX253" fmla="*/ 7739934 w 10625630"/>
              <a:gd name="connsiteY253" fmla="*/ 1946682 h 3293790"/>
              <a:gd name="connsiteX254" fmla="*/ 7651576 w 10625630"/>
              <a:gd name="connsiteY254" fmla="*/ 1928996 h 3293790"/>
              <a:gd name="connsiteX255" fmla="*/ 7591486 w 10625630"/>
              <a:gd name="connsiteY255" fmla="*/ 1879629 h 3293790"/>
              <a:gd name="connsiteX256" fmla="*/ 7569762 w 10625630"/>
              <a:gd name="connsiteY256" fmla="*/ 1811045 h 3293790"/>
              <a:gd name="connsiteX257" fmla="*/ 7640853 w 10625630"/>
              <a:gd name="connsiteY257" fmla="*/ 1811045 h 3293790"/>
              <a:gd name="connsiteX258" fmla="*/ 7669470 w 10625630"/>
              <a:gd name="connsiteY258" fmla="*/ 1867723 h 3293790"/>
              <a:gd name="connsiteX259" fmla="*/ 7739934 w 10625630"/>
              <a:gd name="connsiteY259" fmla="*/ 1888681 h 3293790"/>
              <a:gd name="connsiteX260" fmla="*/ 7804689 w 10625630"/>
              <a:gd name="connsiteY260" fmla="*/ 1872388 h 3293790"/>
              <a:gd name="connsiteX261" fmla="*/ 7829060 w 10625630"/>
              <a:gd name="connsiteY261" fmla="*/ 1828800 h 3293790"/>
              <a:gd name="connsiteX262" fmla="*/ 7829060 w 10625630"/>
              <a:gd name="connsiteY262" fmla="*/ 1828731 h 3293790"/>
              <a:gd name="connsiteX263" fmla="*/ 7807335 w 10625630"/>
              <a:gd name="connsiteY263" fmla="*/ 1783959 h 3293790"/>
              <a:gd name="connsiteX264" fmla="*/ 7731649 w 10625630"/>
              <a:gd name="connsiteY264" fmla="*/ 1756456 h 3293790"/>
              <a:gd name="connsiteX265" fmla="*/ 7646005 w 10625630"/>
              <a:gd name="connsiteY265" fmla="*/ 1728813 h 3293790"/>
              <a:gd name="connsiteX266" fmla="*/ 7599145 w 10625630"/>
              <a:gd name="connsiteY266" fmla="*/ 1690378 h 3293790"/>
              <a:gd name="connsiteX267" fmla="*/ 7583966 w 10625630"/>
              <a:gd name="connsiteY267" fmla="*/ 1637391 h 3293790"/>
              <a:gd name="connsiteX268" fmla="*/ 7627206 w 10625630"/>
              <a:gd name="connsiteY268" fmla="*/ 1550981 h 3293790"/>
              <a:gd name="connsiteX269" fmla="*/ 7737637 w 10625630"/>
              <a:gd name="connsiteY269" fmla="*/ 1515610 h 3293790"/>
              <a:gd name="connsiteX270" fmla="*/ 5114302 w 10625630"/>
              <a:gd name="connsiteY270" fmla="*/ 1515610 h 3293790"/>
              <a:gd name="connsiteX271" fmla="*/ 5233019 w 10625630"/>
              <a:gd name="connsiteY271" fmla="*/ 1582454 h 3293790"/>
              <a:gd name="connsiteX272" fmla="*/ 5286982 w 10625630"/>
              <a:gd name="connsiteY272" fmla="*/ 1534062 h 3293790"/>
              <a:gd name="connsiteX273" fmla="*/ 5365523 w 10625630"/>
              <a:gd name="connsiteY273" fmla="*/ 1515610 h 3293790"/>
              <a:gd name="connsiteX274" fmla="*/ 5504572 w 10625630"/>
              <a:gd name="connsiteY274" fmla="*/ 1660438 h 3293790"/>
              <a:gd name="connsiteX275" fmla="*/ 5504572 w 10625630"/>
              <a:gd name="connsiteY275" fmla="*/ 1938953 h 3293790"/>
              <a:gd name="connsiteX276" fmla="*/ 5433481 w 10625630"/>
              <a:gd name="connsiteY276" fmla="*/ 1938953 h 3293790"/>
              <a:gd name="connsiteX277" fmla="*/ 5433481 w 10625630"/>
              <a:gd name="connsiteY277" fmla="*/ 1664616 h 3293790"/>
              <a:gd name="connsiteX278" fmla="*/ 5413149 w 10625630"/>
              <a:gd name="connsiteY278" fmla="*/ 1597981 h 3293790"/>
              <a:gd name="connsiteX279" fmla="*/ 5344774 w 10625630"/>
              <a:gd name="connsiteY279" fmla="*/ 1575909 h 3293790"/>
              <a:gd name="connsiteX280" fmla="*/ 5279044 w 10625630"/>
              <a:gd name="connsiteY280" fmla="*/ 1599513 h 3293790"/>
              <a:gd name="connsiteX281" fmla="*/ 5248686 w 10625630"/>
              <a:gd name="connsiteY281" fmla="*/ 1663084 h 3293790"/>
              <a:gd name="connsiteX282" fmla="*/ 5248686 w 10625630"/>
              <a:gd name="connsiteY282" fmla="*/ 1938953 h 3293790"/>
              <a:gd name="connsiteX283" fmla="*/ 5177247 w 10625630"/>
              <a:gd name="connsiteY283" fmla="*/ 1938953 h 3293790"/>
              <a:gd name="connsiteX284" fmla="*/ 5177247 w 10625630"/>
              <a:gd name="connsiteY284" fmla="*/ 1666565 h 3293790"/>
              <a:gd name="connsiteX285" fmla="*/ 5088470 w 10625630"/>
              <a:gd name="connsiteY285" fmla="*/ 1575909 h 3293790"/>
              <a:gd name="connsiteX286" fmla="*/ 4992800 w 10625630"/>
              <a:gd name="connsiteY286" fmla="*/ 1635441 h 3293790"/>
              <a:gd name="connsiteX287" fmla="*/ 4992800 w 10625630"/>
              <a:gd name="connsiteY287" fmla="*/ 1938953 h 3293790"/>
              <a:gd name="connsiteX288" fmla="*/ 4921709 w 10625630"/>
              <a:gd name="connsiteY288" fmla="*/ 1938953 h 3293790"/>
              <a:gd name="connsiteX289" fmla="*/ 4921709 w 10625630"/>
              <a:gd name="connsiteY289" fmla="*/ 1523269 h 3293790"/>
              <a:gd name="connsiteX290" fmla="*/ 4988971 w 10625630"/>
              <a:gd name="connsiteY290" fmla="*/ 1523269 h 3293790"/>
              <a:gd name="connsiteX291" fmla="*/ 4989040 w 10625630"/>
              <a:gd name="connsiteY291" fmla="*/ 1523269 h 3293790"/>
              <a:gd name="connsiteX292" fmla="*/ 4990990 w 10625630"/>
              <a:gd name="connsiteY292" fmla="*/ 1569363 h 3293790"/>
              <a:gd name="connsiteX293" fmla="*/ 5114302 w 10625630"/>
              <a:gd name="connsiteY293" fmla="*/ 1515610 h 3293790"/>
              <a:gd name="connsiteX294" fmla="*/ 10492708 w 10625630"/>
              <a:gd name="connsiteY294" fmla="*/ 1515540 h 3293790"/>
              <a:gd name="connsiteX295" fmla="*/ 10625630 w 10625630"/>
              <a:gd name="connsiteY295" fmla="*/ 1664198 h 3293790"/>
              <a:gd name="connsiteX296" fmla="*/ 10625630 w 10625630"/>
              <a:gd name="connsiteY296" fmla="*/ 1938883 h 3293790"/>
              <a:gd name="connsiteX297" fmla="*/ 10554539 w 10625630"/>
              <a:gd name="connsiteY297" fmla="*/ 1938883 h 3293790"/>
              <a:gd name="connsiteX298" fmla="*/ 10554539 w 10625630"/>
              <a:gd name="connsiteY298" fmla="*/ 1663780 h 3293790"/>
              <a:gd name="connsiteX299" fmla="*/ 10533999 w 10625630"/>
              <a:gd name="connsiteY299" fmla="*/ 1597284 h 3293790"/>
              <a:gd name="connsiteX300" fmla="*/ 10471193 w 10625630"/>
              <a:gd name="connsiteY300" fmla="*/ 1575769 h 3293790"/>
              <a:gd name="connsiteX301" fmla="*/ 10410477 w 10625630"/>
              <a:gd name="connsiteY301" fmla="*/ 1594221 h 3293790"/>
              <a:gd name="connsiteX302" fmla="*/ 10369745 w 10625630"/>
              <a:gd name="connsiteY302" fmla="*/ 1642613 h 3293790"/>
              <a:gd name="connsiteX303" fmla="*/ 10369745 w 10625630"/>
              <a:gd name="connsiteY303" fmla="*/ 1938813 h 3293790"/>
              <a:gd name="connsiteX304" fmla="*/ 10298653 w 10625630"/>
              <a:gd name="connsiteY304" fmla="*/ 1938813 h 3293790"/>
              <a:gd name="connsiteX305" fmla="*/ 10298653 w 10625630"/>
              <a:gd name="connsiteY305" fmla="*/ 1523130 h 3293790"/>
              <a:gd name="connsiteX306" fmla="*/ 10365915 w 10625630"/>
              <a:gd name="connsiteY306" fmla="*/ 1523130 h 3293790"/>
              <a:gd name="connsiteX307" fmla="*/ 10365915 w 10625630"/>
              <a:gd name="connsiteY307" fmla="*/ 1523269 h 3293790"/>
              <a:gd name="connsiteX308" fmla="*/ 10368212 w 10625630"/>
              <a:gd name="connsiteY308" fmla="*/ 1575490 h 3293790"/>
              <a:gd name="connsiteX309" fmla="*/ 10492708 w 10625630"/>
              <a:gd name="connsiteY309" fmla="*/ 1515540 h 3293790"/>
              <a:gd name="connsiteX310" fmla="*/ 8016569 w 10625630"/>
              <a:gd name="connsiteY310" fmla="*/ 1422725 h 3293790"/>
              <a:gd name="connsiteX311" fmla="*/ 8087591 w 10625630"/>
              <a:gd name="connsiteY311" fmla="*/ 1422725 h 3293790"/>
              <a:gd name="connsiteX312" fmla="*/ 8087591 w 10625630"/>
              <a:gd name="connsiteY312" fmla="*/ 1523338 h 3293790"/>
              <a:gd name="connsiteX313" fmla="*/ 8165158 w 10625630"/>
              <a:gd name="connsiteY313" fmla="*/ 1523338 h 3293790"/>
              <a:gd name="connsiteX314" fmla="*/ 8165158 w 10625630"/>
              <a:gd name="connsiteY314" fmla="*/ 1578275 h 3293790"/>
              <a:gd name="connsiteX315" fmla="*/ 8087591 w 10625630"/>
              <a:gd name="connsiteY315" fmla="*/ 1578275 h 3293790"/>
              <a:gd name="connsiteX316" fmla="*/ 8087591 w 10625630"/>
              <a:gd name="connsiteY316" fmla="*/ 1836389 h 3293790"/>
              <a:gd name="connsiteX317" fmla="*/ 8097966 w 10625630"/>
              <a:gd name="connsiteY317" fmla="*/ 1873919 h 3293790"/>
              <a:gd name="connsiteX318" fmla="*/ 8133337 w 10625630"/>
              <a:gd name="connsiteY318" fmla="*/ 1886383 h 3293790"/>
              <a:gd name="connsiteX319" fmla="*/ 8167177 w 10625630"/>
              <a:gd name="connsiteY319" fmla="*/ 1881787 h 3293790"/>
              <a:gd name="connsiteX320" fmla="*/ 8167177 w 10625630"/>
              <a:gd name="connsiteY320" fmla="*/ 1939092 h 3293790"/>
              <a:gd name="connsiteX321" fmla="*/ 8112658 w 10625630"/>
              <a:gd name="connsiteY321" fmla="*/ 1946751 h 3293790"/>
              <a:gd name="connsiteX322" fmla="*/ 8040800 w 10625630"/>
              <a:gd name="connsiteY322" fmla="*/ 1917924 h 3293790"/>
              <a:gd name="connsiteX323" fmla="*/ 8016569 w 10625630"/>
              <a:gd name="connsiteY323" fmla="*/ 1836111 h 3293790"/>
              <a:gd name="connsiteX324" fmla="*/ 8016569 w 10625630"/>
              <a:gd name="connsiteY324" fmla="*/ 1578345 h 3293790"/>
              <a:gd name="connsiteX325" fmla="*/ 7940883 w 10625630"/>
              <a:gd name="connsiteY325" fmla="*/ 1578345 h 3293790"/>
              <a:gd name="connsiteX326" fmla="*/ 7940883 w 10625630"/>
              <a:gd name="connsiteY326" fmla="*/ 1523408 h 3293790"/>
              <a:gd name="connsiteX327" fmla="*/ 8016569 w 10625630"/>
              <a:gd name="connsiteY327" fmla="*/ 1523408 h 3293790"/>
              <a:gd name="connsiteX328" fmla="*/ 6930639 w 10625630"/>
              <a:gd name="connsiteY328" fmla="*/ 1422725 h 3293790"/>
              <a:gd name="connsiteX329" fmla="*/ 7001661 w 10625630"/>
              <a:gd name="connsiteY329" fmla="*/ 1422725 h 3293790"/>
              <a:gd name="connsiteX330" fmla="*/ 7001661 w 10625630"/>
              <a:gd name="connsiteY330" fmla="*/ 1523338 h 3293790"/>
              <a:gd name="connsiteX331" fmla="*/ 7079227 w 10625630"/>
              <a:gd name="connsiteY331" fmla="*/ 1523338 h 3293790"/>
              <a:gd name="connsiteX332" fmla="*/ 7079227 w 10625630"/>
              <a:gd name="connsiteY332" fmla="*/ 1578275 h 3293790"/>
              <a:gd name="connsiteX333" fmla="*/ 7001661 w 10625630"/>
              <a:gd name="connsiteY333" fmla="*/ 1578275 h 3293790"/>
              <a:gd name="connsiteX334" fmla="*/ 7001661 w 10625630"/>
              <a:gd name="connsiteY334" fmla="*/ 1836389 h 3293790"/>
              <a:gd name="connsiteX335" fmla="*/ 7012036 w 10625630"/>
              <a:gd name="connsiteY335" fmla="*/ 1873919 h 3293790"/>
              <a:gd name="connsiteX336" fmla="*/ 7047407 w 10625630"/>
              <a:gd name="connsiteY336" fmla="*/ 1886383 h 3293790"/>
              <a:gd name="connsiteX337" fmla="*/ 7081247 w 10625630"/>
              <a:gd name="connsiteY337" fmla="*/ 1881787 h 3293790"/>
              <a:gd name="connsiteX338" fmla="*/ 7081247 w 10625630"/>
              <a:gd name="connsiteY338" fmla="*/ 1939092 h 3293790"/>
              <a:gd name="connsiteX339" fmla="*/ 7026727 w 10625630"/>
              <a:gd name="connsiteY339" fmla="*/ 1946751 h 3293790"/>
              <a:gd name="connsiteX340" fmla="*/ 6954870 w 10625630"/>
              <a:gd name="connsiteY340" fmla="*/ 1917924 h 3293790"/>
              <a:gd name="connsiteX341" fmla="*/ 6930639 w 10625630"/>
              <a:gd name="connsiteY341" fmla="*/ 1836111 h 3293790"/>
              <a:gd name="connsiteX342" fmla="*/ 6930639 w 10625630"/>
              <a:gd name="connsiteY342" fmla="*/ 1578345 h 3293790"/>
              <a:gd name="connsiteX343" fmla="*/ 6854953 w 10625630"/>
              <a:gd name="connsiteY343" fmla="*/ 1578345 h 3293790"/>
              <a:gd name="connsiteX344" fmla="*/ 6854953 w 10625630"/>
              <a:gd name="connsiteY344" fmla="*/ 1523408 h 3293790"/>
              <a:gd name="connsiteX345" fmla="*/ 6930639 w 10625630"/>
              <a:gd name="connsiteY345" fmla="*/ 1523408 h 3293790"/>
              <a:gd name="connsiteX346" fmla="*/ 8087591 w 10625630"/>
              <a:gd name="connsiteY346" fmla="*/ 1422655 h 3293790"/>
              <a:gd name="connsiteX347" fmla="*/ 8087661 w 10625630"/>
              <a:gd name="connsiteY347" fmla="*/ 1422725 h 3293790"/>
              <a:gd name="connsiteX348" fmla="*/ 8087591 w 10625630"/>
              <a:gd name="connsiteY348" fmla="*/ 1422725 h 3293790"/>
              <a:gd name="connsiteX349" fmla="*/ 7001661 w 10625630"/>
              <a:gd name="connsiteY349" fmla="*/ 1422655 h 3293790"/>
              <a:gd name="connsiteX350" fmla="*/ 7001730 w 10625630"/>
              <a:gd name="connsiteY350" fmla="*/ 1422725 h 3293790"/>
              <a:gd name="connsiteX351" fmla="*/ 7001661 w 10625630"/>
              <a:gd name="connsiteY351" fmla="*/ 1422725 h 3293790"/>
              <a:gd name="connsiteX352" fmla="*/ 4062911 w 10625630"/>
              <a:gd name="connsiteY352" fmla="*/ 1379625 h 3293790"/>
              <a:gd name="connsiteX353" fmla="*/ 4136648 w 10625630"/>
              <a:gd name="connsiteY353" fmla="*/ 1379625 h 3293790"/>
              <a:gd name="connsiteX354" fmla="*/ 4136648 w 10625630"/>
              <a:gd name="connsiteY354" fmla="*/ 1656260 h 3293790"/>
              <a:gd name="connsiteX355" fmla="*/ 4385220 w 10625630"/>
              <a:gd name="connsiteY355" fmla="*/ 1379625 h 3293790"/>
              <a:gd name="connsiteX356" fmla="*/ 4474344 w 10625630"/>
              <a:gd name="connsiteY356" fmla="*/ 1379625 h 3293790"/>
              <a:gd name="connsiteX357" fmla="*/ 4254178 w 10625630"/>
              <a:gd name="connsiteY357" fmla="*/ 1626668 h 3293790"/>
              <a:gd name="connsiteX358" fmla="*/ 4491612 w 10625630"/>
              <a:gd name="connsiteY358" fmla="*/ 1939023 h 3293790"/>
              <a:gd name="connsiteX359" fmla="*/ 4403254 w 10625630"/>
              <a:gd name="connsiteY359" fmla="*/ 1939023 h 3293790"/>
              <a:gd name="connsiteX360" fmla="*/ 4205020 w 10625630"/>
              <a:gd name="connsiteY360" fmla="*/ 1678959 h 3293790"/>
              <a:gd name="connsiteX361" fmla="*/ 4205020 w 10625630"/>
              <a:gd name="connsiteY361" fmla="*/ 1678890 h 3293790"/>
              <a:gd name="connsiteX362" fmla="*/ 4136648 w 10625630"/>
              <a:gd name="connsiteY362" fmla="*/ 1749981 h 3293790"/>
              <a:gd name="connsiteX363" fmla="*/ 4136648 w 10625630"/>
              <a:gd name="connsiteY363" fmla="*/ 1939023 h 3293790"/>
              <a:gd name="connsiteX364" fmla="*/ 4062911 w 10625630"/>
              <a:gd name="connsiteY364" fmla="*/ 1939023 h 3293790"/>
              <a:gd name="connsiteX365" fmla="*/ 4775141 w 10625630"/>
              <a:gd name="connsiteY365" fmla="*/ 1371966 h 3293790"/>
              <a:gd name="connsiteX366" fmla="*/ 4806613 w 10625630"/>
              <a:gd name="connsiteY366" fmla="*/ 1383872 h 3293790"/>
              <a:gd name="connsiteX367" fmla="*/ 4817336 w 10625630"/>
              <a:gd name="connsiteY367" fmla="*/ 1413047 h 3293790"/>
              <a:gd name="connsiteX368" fmla="*/ 4806613 w 10625630"/>
              <a:gd name="connsiteY368" fmla="*/ 1441873 h 3293790"/>
              <a:gd name="connsiteX369" fmla="*/ 4775141 w 10625630"/>
              <a:gd name="connsiteY369" fmla="*/ 1453432 h 3293790"/>
              <a:gd name="connsiteX370" fmla="*/ 4743808 w 10625630"/>
              <a:gd name="connsiteY370" fmla="*/ 1441873 h 3293790"/>
              <a:gd name="connsiteX371" fmla="*/ 4733224 w 10625630"/>
              <a:gd name="connsiteY371" fmla="*/ 1413047 h 3293790"/>
              <a:gd name="connsiteX372" fmla="*/ 4743808 w 10625630"/>
              <a:gd name="connsiteY372" fmla="*/ 1383872 h 3293790"/>
              <a:gd name="connsiteX373" fmla="*/ 4775141 w 10625630"/>
              <a:gd name="connsiteY373" fmla="*/ 1371966 h 3293790"/>
              <a:gd name="connsiteX374" fmla="*/ 9296068 w 10625630"/>
              <a:gd name="connsiteY374" fmla="*/ 1348849 h 3293790"/>
              <a:gd name="connsiteX375" fmla="*/ 9367159 w 10625630"/>
              <a:gd name="connsiteY375" fmla="*/ 1348849 h 3293790"/>
              <a:gd name="connsiteX376" fmla="*/ 9367159 w 10625630"/>
              <a:gd name="connsiteY376" fmla="*/ 1938953 h 3293790"/>
              <a:gd name="connsiteX377" fmla="*/ 9296068 w 10625630"/>
              <a:gd name="connsiteY377" fmla="*/ 1938953 h 3293790"/>
              <a:gd name="connsiteX378" fmla="*/ 6299036 w 10625630"/>
              <a:gd name="connsiteY378" fmla="*/ 1348849 h 3293790"/>
              <a:gd name="connsiteX379" fmla="*/ 6370127 w 10625630"/>
              <a:gd name="connsiteY379" fmla="*/ 1348849 h 3293790"/>
              <a:gd name="connsiteX380" fmla="*/ 6370127 w 10625630"/>
              <a:gd name="connsiteY380" fmla="*/ 1938953 h 3293790"/>
              <a:gd name="connsiteX381" fmla="*/ 6304815 w 10625630"/>
              <a:gd name="connsiteY381" fmla="*/ 1938953 h 3293790"/>
              <a:gd name="connsiteX382" fmla="*/ 6301334 w 10625630"/>
              <a:gd name="connsiteY382" fmla="*/ 1894390 h 3293790"/>
              <a:gd name="connsiteX383" fmla="*/ 6182617 w 10625630"/>
              <a:gd name="connsiteY383" fmla="*/ 1946612 h 3293790"/>
              <a:gd name="connsiteX384" fmla="*/ 6064874 w 10625630"/>
              <a:gd name="connsiteY384" fmla="*/ 1887428 h 3293790"/>
              <a:gd name="connsiteX385" fmla="*/ 6019337 w 10625630"/>
              <a:gd name="connsiteY385" fmla="*/ 1732991 h 3293790"/>
              <a:gd name="connsiteX386" fmla="*/ 6019337 w 10625630"/>
              <a:gd name="connsiteY386" fmla="*/ 1727699 h 3293790"/>
              <a:gd name="connsiteX387" fmla="*/ 6064665 w 10625630"/>
              <a:gd name="connsiteY387" fmla="*/ 1573820 h 3293790"/>
              <a:gd name="connsiteX388" fmla="*/ 6183382 w 10625630"/>
              <a:gd name="connsiteY388" fmla="*/ 1515610 h 3293790"/>
              <a:gd name="connsiteX389" fmla="*/ 6299036 w 10625630"/>
              <a:gd name="connsiteY389" fmla="*/ 1565534 h 3293790"/>
              <a:gd name="connsiteX390" fmla="*/ 4549613 w 10625630"/>
              <a:gd name="connsiteY390" fmla="*/ 1348849 h 3293790"/>
              <a:gd name="connsiteX391" fmla="*/ 4620704 w 10625630"/>
              <a:gd name="connsiteY391" fmla="*/ 1348849 h 3293790"/>
              <a:gd name="connsiteX392" fmla="*/ 4620704 w 10625630"/>
              <a:gd name="connsiteY392" fmla="*/ 1938953 h 3293790"/>
              <a:gd name="connsiteX393" fmla="*/ 4549613 w 10625630"/>
              <a:gd name="connsiteY393" fmla="*/ 1938953 h 3293790"/>
              <a:gd name="connsiteX394" fmla="*/ 1647350 w 10625630"/>
              <a:gd name="connsiteY394" fmla="*/ 1074094 h 3293790"/>
              <a:gd name="connsiteX395" fmla="*/ 1564561 w 10625630"/>
              <a:gd name="connsiteY395" fmla="*/ 1157022 h 3293790"/>
              <a:gd name="connsiteX396" fmla="*/ 1571023 w 10625630"/>
              <a:gd name="connsiteY396" fmla="*/ 1189028 h 3293790"/>
              <a:gd name="connsiteX397" fmla="*/ 1588476 w 10625630"/>
              <a:gd name="connsiteY397" fmla="*/ 1214944 h 3293790"/>
              <a:gd name="connsiteX398" fmla="*/ 1646999 w 10625630"/>
              <a:gd name="connsiteY398" fmla="*/ 1239253 h 3293790"/>
              <a:gd name="connsiteX399" fmla="*/ 1729787 w 10625630"/>
              <a:gd name="connsiteY399" fmla="*/ 1156325 h 3293790"/>
              <a:gd name="connsiteX400" fmla="*/ 1723325 w 10625630"/>
              <a:gd name="connsiteY400" fmla="*/ 1124319 h 3293790"/>
              <a:gd name="connsiteX401" fmla="*/ 1705873 w 10625630"/>
              <a:gd name="connsiteY401" fmla="*/ 1098403 h 3293790"/>
              <a:gd name="connsiteX402" fmla="*/ 1647350 w 10625630"/>
              <a:gd name="connsiteY402" fmla="*/ 1074094 h 3293790"/>
              <a:gd name="connsiteX403" fmla="*/ 1646859 w 10625630"/>
              <a:gd name="connsiteY403" fmla="*/ 895844 h 3293790"/>
              <a:gd name="connsiteX404" fmla="*/ 1670176 w 10625630"/>
              <a:gd name="connsiteY404" fmla="*/ 905540 h 3293790"/>
              <a:gd name="connsiteX405" fmla="*/ 1670417 w 10625630"/>
              <a:gd name="connsiteY405" fmla="*/ 906121 h 3293790"/>
              <a:gd name="connsiteX406" fmla="*/ 1670527 w 10625630"/>
              <a:gd name="connsiteY406" fmla="*/ 906167 h 3293790"/>
              <a:gd name="connsiteX407" fmla="*/ 1680214 w 10625630"/>
              <a:gd name="connsiteY407" fmla="*/ 929545 h 3293790"/>
              <a:gd name="connsiteX408" fmla="*/ 1680214 w 10625630"/>
              <a:gd name="connsiteY408" fmla="*/ 1015824 h 3293790"/>
              <a:gd name="connsiteX409" fmla="*/ 1724115 w 10625630"/>
              <a:gd name="connsiteY409" fmla="*/ 1034469 h 3293790"/>
              <a:gd name="connsiteX410" fmla="*/ 1760807 w 10625630"/>
              <a:gd name="connsiteY410" fmla="*/ 1067331 h 3293790"/>
              <a:gd name="connsiteX411" fmla="*/ 1761129 w 10625630"/>
              <a:gd name="connsiteY411" fmla="*/ 1067932 h 3293790"/>
              <a:gd name="connsiteX412" fmla="*/ 1761158 w 10625630"/>
              <a:gd name="connsiteY412" fmla="*/ 1067958 h 3293790"/>
              <a:gd name="connsiteX413" fmla="*/ 1785004 w 10625630"/>
              <a:gd name="connsiteY413" fmla="*/ 1112504 h 3293790"/>
              <a:gd name="connsiteX414" fmla="*/ 1790638 w 10625630"/>
              <a:gd name="connsiteY414" fmla="*/ 1165629 h 3293790"/>
              <a:gd name="connsiteX415" fmla="*/ 1892075 w 10625630"/>
              <a:gd name="connsiteY415" fmla="*/ 1129997 h 3293790"/>
              <a:gd name="connsiteX416" fmla="*/ 1995769 w 10625630"/>
              <a:gd name="connsiteY416" fmla="*/ 1118029 h 3293790"/>
              <a:gd name="connsiteX417" fmla="*/ 2278696 w 10625630"/>
              <a:gd name="connsiteY417" fmla="*/ 1248189 h 3293790"/>
              <a:gd name="connsiteX418" fmla="*/ 2278871 w 10625630"/>
              <a:gd name="connsiteY418" fmla="*/ 1248685 h 3293790"/>
              <a:gd name="connsiteX419" fmla="*/ 2279047 w 10625630"/>
              <a:gd name="connsiteY419" fmla="*/ 1248874 h 3293790"/>
              <a:gd name="connsiteX420" fmla="*/ 2312685 w 10625630"/>
              <a:gd name="connsiteY420" fmla="*/ 1344184 h 3293790"/>
              <a:gd name="connsiteX421" fmla="*/ 2312720 w 10625630"/>
              <a:gd name="connsiteY421" fmla="*/ 1344184 h 3293790"/>
              <a:gd name="connsiteX422" fmla="*/ 2532511 w 10625630"/>
              <a:gd name="connsiteY422" fmla="*/ 1508271 h 3293790"/>
              <a:gd name="connsiteX423" fmla="*/ 2532528 w 10625630"/>
              <a:gd name="connsiteY423" fmla="*/ 1508455 h 3293790"/>
              <a:gd name="connsiteX424" fmla="*/ 2532791 w 10625630"/>
              <a:gd name="connsiteY424" fmla="*/ 1508967 h 3293790"/>
              <a:gd name="connsiteX425" fmla="*/ 2542984 w 10625630"/>
              <a:gd name="connsiteY425" fmla="*/ 1617408 h 3293790"/>
              <a:gd name="connsiteX426" fmla="*/ 2288769 w 10625630"/>
              <a:gd name="connsiteY426" fmla="*/ 2046460 h 3293790"/>
              <a:gd name="connsiteX427" fmla="*/ 2287238 w 10625630"/>
              <a:gd name="connsiteY427" fmla="*/ 2048270 h 3293790"/>
              <a:gd name="connsiteX428" fmla="*/ 2199575 w 10625630"/>
              <a:gd name="connsiteY428" fmla="*/ 2048270 h 3293790"/>
              <a:gd name="connsiteX429" fmla="*/ 2200199 w 10625630"/>
              <a:gd name="connsiteY429" fmla="*/ 2047574 h 3293790"/>
              <a:gd name="connsiteX430" fmla="*/ 2199294 w 10625630"/>
              <a:gd name="connsiteY430" fmla="*/ 2047574 h 3293790"/>
              <a:gd name="connsiteX431" fmla="*/ 2207093 w 10625630"/>
              <a:gd name="connsiteY431" fmla="*/ 2038870 h 3293790"/>
              <a:gd name="connsiteX432" fmla="*/ 2383741 w 10625630"/>
              <a:gd name="connsiteY432" fmla="*/ 1814317 h 3293790"/>
              <a:gd name="connsiteX433" fmla="*/ 2476834 w 10625630"/>
              <a:gd name="connsiteY433" fmla="*/ 1613369 h 3293790"/>
              <a:gd name="connsiteX434" fmla="*/ 2468708 w 10625630"/>
              <a:gd name="connsiteY434" fmla="*/ 1525106 h 3293790"/>
              <a:gd name="connsiteX435" fmla="*/ 2434712 w 10625630"/>
              <a:gd name="connsiteY435" fmla="*/ 1462692 h 3293790"/>
              <a:gd name="connsiteX436" fmla="*/ 2318918 w 10625630"/>
              <a:gd name="connsiteY436" fmla="*/ 1411933 h 3293790"/>
              <a:gd name="connsiteX437" fmla="*/ 2318918 w 10625630"/>
              <a:gd name="connsiteY437" fmla="*/ 1414370 h 3293790"/>
              <a:gd name="connsiteX438" fmla="*/ 2318223 w 10625630"/>
              <a:gd name="connsiteY438" fmla="*/ 1453501 h 3293790"/>
              <a:gd name="connsiteX439" fmla="*/ 2229028 w 10625630"/>
              <a:gd name="connsiteY439" fmla="*/ 1695113 h 3293790"/>
              <a:gd name="connsiteX440" fmla="*/ 1993892 w 10625630"/>
              <a:gd name="connsiteY440" fmla="*/ 2046251 h 3293790"/>
              <a:gd name="connsiteX441" fmla="*/ 1992291 w 10625630"/>
              <a:gd name="connsiteY441" fmla="*/ 2048270 h 3293790"/>
              <a:gd name="connsiteX442" fmla="*/ 1908667 w 10625630"/>
              <a:gd name="connsiteY442" fmla="*/ 2048270 h 3293790"/>
              <a:gd name="connsiteX443" fmla="*/ 1909232 w 10625630"/>
              <a:gd name="connsiteY443" fmla="*/ 2047574 h 3293790"/>
              <a:gd name="connsiteX444" fmla="*/ 1908385 w 10625630"/>
              <a:gd name="connsiteY444" fmla="*/ 2047574 h 3293790"/>
              <a:gd name="connsiteX445" fmla="*/ 1915278 w 10625630"/>
              <a:gd name="connsiteY445" fmla="*/ 2039079 h 3293790"/>
              <a:gd name="connsiteX446" fmla="*/ 2251864 w 10625630"/>
              <a:gd name="connsiteY446" fmla="*/ 1448209 h 3293790"/>
              <a:gd name="connsiteX447" fmla="*/ 2253065 w 10625630"/>
              <a:gd name="connsiteY447" fmla="*/ 1381400 h 3293790"/>
              <a:gd name="connsiteX448" fmla="*/ 2240046 w 10625630"/>
              <a:gd name="connsiteY448" fmla="*/ 1322051 h 3293790"/>
              <a:gd name="connsiteX449" fmla="*/ 2206051 w 10625630"/>
              <a:gd name="connsiteY449" fmla="*/ 1262231 h 3293790"/>
              <a:gd name="connsiteX450" fmla="*/ 1996259 w 10625630"/>
              <a:gd name="connsiteY450" fmla="*/ 1184804 h 3293790"/>
              <a:gd name="connsiteX451" fmla="*/ 1680354 w 10625630"/>
              <a:gd name="connsiteY451" fmla="*/ 1325593 h 3293790"/>
              <a:gd name="connsiteX452" fmla="*/ 1680354 w 10625630"/>
              <a:gd name="connsiteY452" fmla="*/ 2048340 h 3293790"/>
              <a:gd name="connsiteX453" fmla="*/ 1614276 w 10625630"/>
              <a:gd name="connsiteY453" fmla="*/ 2048340 h 3293790"/>
              <a:gd name="connsiteX454" fmla="*/ 1614276 w 10625630"/>
              <a:gd name="connsiteY454" fmla="*/ 2047643 h 3293790"/>
              <a:gd name="connsiteX455" fmla="*/ 1613925 w 10625630"/>
              <a:gd name="connsiteY455" fmla="*/ 2047643 h 3293790"/>
              <a:gd name="connsiteX456" fmla="*/ 1613925 w 10625630"/>
              <a:gd name="connsiteY456" fmla="*/ 1325236 h 3293790"/>
              <a:gd name="connsiteX457" fmla="*/ 1604126 w 10625630"/>
              <a:gd name="connsiteY457" fmla="*/ 1315266 h 3293790"/>
              <a:gd name="connsiteX458" fmla="*/ 1298370 w 10625630"/>
              <a:gd name="connsiteY458" fmla="*/ 1184804 h 3293790"/>
              <a:gd name="connsiteX459" fmla="*/ 1088509 w 10625630"/>
              <a:gd name="connsiteY459" fmla="*/ 1262301 h 3293790"/>
              <a:gd name="connsiteX460" fmla="*/ 1042345 w 10625630"/>
              <a:gd name="connsiteY460" fmla="*/ 1448488 h 3293790"/>
              <a:gd name="connsiteX461" fmla="*/ 1062400 w 10625630"/>
              <a:gd name="connsiteY461" fmla="*/ 1530990 h 3293790"/>
              <a:gd name="connsiteX462" fmla="*/ 1102677 w 10625630"/>
              <a:gd name="connsiteY462" fmla="*/ 1623925 h 3293790"/>
              <a:gd name="connsiteX463" fmla="*/ 1156456 w 10625630"/>
              <a:gd name="connsiteY463" fmla="*/ 1721485 h 3293790"/>
              <a:gd name="connsiteX464" fmla="*/ 1378649 w 10625630"/>
              <a:gd name="connsiteY464" fmla="*/ 2039079 h 3293790"/>
              <a:gd name="connsiteX465" fmla="*/ 1385543 w 10625630"/>
              <a:gd name="connsiteY465" fmla="*/ 2047574 h 3293790"/>
              <a:gd name="connsiteX466" fmla="*/ 1385328 w 10625630"/>
              <a:gd name="connsiteY466" fmla="*/ 2047574 h 3293790"/>
              <a:gd name="connsiteX467" fmla="*/ 1385893 w 10625630"/>
              <a:gd name="connsiteY467" fmla="*/ 2048270 h 3293790"/>
              <a:gd name="connsiteX468" fmla="*/ 1302270 w 10625630"/>
              <a:gd name="connsiteY468" fmla="*/ 2048270 h 3293790"/>
              <a:gd name="connsiteX469" fmla="*/ 1300668 w 10625630"/>
              <a:gd name="connsiteY469" fmla="*/ 2046251 h 3293790"/>
              <a:gd name="connsiteX470" fmla="*/ 1065462 w 10625630"/>
              <a:gd name="connsiteY470" fmla="*/ 1695113 h 3293790"/>
              <a:gd name="connsiteX471" fmla="*/ 1065279 w 10625630"/>
              <a:gd name="connsiteY471" fmla="*/ 1694719 h 3293790"/>
              <a:gd name="connsiteX472" fmla="*/ 1065111 w 10625630"/>
              <a:gd name="connsiteY472" fmla="*/ 1694417 h 3293790"/>
              <a:gd name="connsiteX473" fmla="*/ 975986 w 10625630"/>
              <a:gd name="connsiteY473" fmla="*/ 1452805 h 3293790"/>
              <a:gd name="connsiteX474" fmla="*/ 975290 w 10625630"/>
              <a:gd name="connsiteY474" fmla="*/ 1413743 h 3293790"/>
              <a:gd name="connsiteX475" fmla="*/ 975290 w 10625630"/>
              <a:gd name="connsiteY475" fmla="*/ 1412027 h 3293790"/>
              <a:gd name="connsiteX476" fmla="*/ 907683 w 10625630"/>
              <a:gd name="connsiteY476" fmla="*/ 1430106 h 3293790"/>
              <a:gd name="connsiteX477" fmla="*/ 859778 w 10625630"/>
              <a:gd name="connsiteY477" fmla="*/ 1462692 h 3293790"/>
              <a:gd name="connsiteX478" fmla="*/ 817444 w 10625630"/>
              <a:gd name="connsiteY478" fmla="*/ 1614065 h 3293790"/>
              <a:gd name="connsiteX479" fmla="*/ 824636 w 10625630"/>
              <a:gd name="connsiteY479" fmla="*/ 1651730 h 3293790"/>
              <a:gd name="connsiteX480" fmla="*/ 842712 w 10625630"/>
              <a:gd name="connsiteY480" fmla="*/ 1698137 h 3293790"/>
              <a:gd name="connsiteX481" fmla="*/ 871123 w 10625630"/>
              <a:gd name="connsiteY481" fmla="*/ 1752213 h 3293790"/>
              <a:gd name="connsiteX482" fmla="*/ 910117 w 10625630"/>
              <a:gd name="connsiteY482" fmla="*/ 1814317 h 3293790"/>
              <a:gd name="connsiteX483" fmla="*/ 1086765 w 10625630"/>
              <a:gd name="connsiteY483" fmla="*/ 2038870 h 3293790"/>
              <a:gd name="connsiteX484" fmla="*/ 1094564 w 10625630"/>
              <a:gd name="connsiteY484" fmla="*/ 2047574 h 3293790"/>
              <a:gd name="connsiteX485" fmla="*/ 1094291 w 10625630"/>
              <a:gd name="connsiteY485" fmla="*/ 2047574 h 3293790"/>
              <a:gd name="connsiteX486" fmla="*/ 1094915 w 10625630"/>
              <a:gd name="connsiteY486" fmla="*/ 2048270 h 3293790"/>
              <a:gd name="connsiteX487" fmla="*/ 1007252 w 10625630"/>
              <a:gd name="connsiteY487" fmla="*/ 2048270 h 3293790"/>
              <a:gd name="connsiteX488" fmla="*/ 1005720 w 10625630"/>
              <a:gd name="connsiteY488" fmla="*/ 2046460 h 3293790"/>
              <a:gd name="connsiteX489" fmla="*/ 780858 w 10625630"/>
              <a:gd name="connsiteY489" fmla="*/ 1721312 h 3293790"/>
              <a:gd name="connsiteX490" fmla="*/ 780807 w 10625630"/>
              <a:gd name="connsiteY490" fmla="*/ 1721132 h 3293790"/>
              <a:gd name="connsiteX491" fmla="*/ 780517 w 10625630"/>
              <a:gd name="connsiteY491" fmla="*/ 1720616 h 3293790"/>
              <a:gd name="connsiteX492" fmla="*/ 751155 w 10625630"/>
              <a:gd name="connsiteY492" fmla="*/ 1616711 h 3293790"/>
              <a:gd name="connsiteX493" fmla="*/ 981139 w 10625630"/>
              <a:gd name="connsiteY493" fmla="*/ 1344184 h 3293790"/>
              <a:gd name="connsiteX494" fmla="*/ 1297950 w 10625630"/>
              <a:gd name="connsiteY494" fmla="*/ 1118029 h 3293790"/>
              <a:gd name="connsiteX495" fmla="*/ 1503354 w 10625630"/>
              <a:gd name="connsiteY495" fmla="*/ 1165725 h 3293790"/>
              <a:gd name="connsiteX496" fmla="*/ 1613855 w 10625630"/>
              <a:gd name="connsiteY496" fmla="*/ 1015675 h 3293790"/>
              <a:gd name="connsiteX497" fmla="*/ 1613855 w 10625630"/>
              <a:gd name="connsiteY497" fmla="*/ 928918 h 3293790"/>
              <a:gd name="connsiteX498" fmla="*/ 1646859 w 10625630"/>
              <a:gd name="connsiteY498" fmla="*/ 895844 h 3293790"/>
              <a:gd name="connsiteX499" fmla="*/ 1730345 w 10625630"/>
              <a:gd name="connsiteY499" fmla="*/ 812080 h 3293790"/>
              <a:gd name="connsiteX500" fmla="*/ 1841820 w 10625630"/>
              <a:gd name="connsiteY500" fmla="*/ 812080 h 3293790"/>
              <a:gd name="connsiteX501" fmla="*/ 1865198 w 10625630"/>
              <a:gd name="connsiteY501" fmla="*/ 821776 h 3293790"/>
              <a:gd name="connsiteX502" fmla="*/ 1865474 w 10625630"/>
              <a:gd name="connsiteY502" fmla="*/ 822442 h 3293790"/>
              <a:gd name="connsiteX503" fmla="*/ 1865548 w 10625630"/>
              <a:gd name="connsiteY503" fmla="*/ 822473 h 3293790"/>
              <a:gd name="connsiteX504" fmla="*/ 1875244 w 10625630"/>
              <a:gd name="connsiteY504" fmla="*/ 845851 h 3293790"/>
              <a:gd name="connsiteX505" fmla="*/ 1842170 w 10625630"/>
              <a:gd name="connsiteY505" fmla="*/ 878924 h 3293790"/>
              <a:gd name="connsiteX506" fmla="*/ 1730695 w 10625630"/>
              <a:gd name="connsiteY506" fmla="*/ 878924 h 3293790"/>
              <a:gd name="connsiteX507" fmla="*/ 1707317 w 10625630"/>
              <a:gd name="connsiteY507" fmla="*/ 869228 h 3293790"/>
              <a:gd name="connsiteX508" fmla="*/ 1707041 w 10625630"/>
              <a:gd name="connsiteY508" fmla="*/ 868562 h 3293790"/>
              <a:gd name="connsiteX509" fmla="*/ 1706966 w 10625630"/>
              <a:gd name="connsiteY509" fmla="*/ 868531 h 3293790"/>
              <a:gd name="connsiteX510" fmla="*/ 1697271 w 10625630"/>
              <a:gd name="connsiteY510" fmla="*/ 845154 h 3293790"/>
              <a:gd name="connsiteX511" fmla="*/ 1730345 w 10625630"/>
              <a:gd name="connsiteY511" fmla="*/ 812080 h 3293790"/>
              <a:gd name="connsiteX512" fmla="*/ 1451969 w 10625630"/>
              <a:gd name="connsiteY512" fmla="*/ 812080 h 3293790"/>
              <a:gd name="connsiteX513" fmla="*/ 1563444 w 10625630"/>
              <a:gd name="connsiteY513" fmla="*/ 812080 h 3293790"/>
              <a:gd name="connsiteX514" fmla="*/ 1586822 w 10625630"/>
              <a:gd name="connsiteY514" fmla="*/ 821776 h 3293790"/>
              <a:gd name="connsiteX515" fmla="*/ 1587098 w 10625630"/>
              <a:gd name="connsiteY515" fmla="*/ 822442 h 3293790"/>
              <a:gd name="connsiteX516" fmla="*/ 1587172 w 10625630"/>
              <a:gd name="connsiteY516" fmla="*/ 822473 h 3293790"/>
              <a:gd name="connsiteX517" fmla="*/ 1596868 w 10625630"/>
              <a:gd name="connsiteY517" fmla="*/ 845851 h 3293790"/>
              <a:gd name="connsiteX518" fmla="*/ 1563794 w 10625630"/>
              <a:gd name="connsiteY518" fmla="*/ 878924 h 3293790"/>
              <a:gd name="connsiteX519" fmla="*/ 1452319 w 10625630"/>
              <a:gd name="connsiteY519" fmla="*/ 878924 h 3293790"/>
              <a:gd name="connsiteX520" fmla="*/ 1428941 w 10625630"/>
              <a:gd name="connsiteY520" fmla="*/ 869228 h 3293790"/>
              <a:gd name="connsiteX521" fmla="*/ 1428665 w 10625630"/>
              <a:gd name="connsiteY521" fmla="*/ 868562 h 3293790"/>
              <a:gd name="connsiteX522" fmla="*/ 1428591 w 10625630"/>
              <a:gd name="connsiteY522" fmla="*/ 868531 h 3293790"/>
              <a:gd name="connsiteX523" fmla="*/ 1418895 w 10625630"/>
              <a:gd name="connsiteY523" fmla="*/ 845154 h 3293790"/>
              <a:gd name="connsiteX524" fmla="*/ 1451969 w 10625630"/>
              <a:gd name="connsiteY524" fmla="*/ 812080 h 3293790"/>
              <a:gd name="connsiteX525" fmla="*/ 1646860 w 10625630"/>
              <a:gd name="connsiteY525" fmla="*/ 616911 h 3293790"/>
              <a:gd name="connsiteX526" fmla="*/ 1670237 w 10625630"/>
              <a:gd name="connsiteY526" fmla="*/ 626607 h 3293790"/>
              <a:gd name="connsiteX527" fmla="*/ 1670513 w 10625630"/>
              <a:gd name="connsiteY527" fmla="*/ 627272 h 3293790"/>
              <a:gd name="connsiteX528" fmla="*/ 1670588 w 10625630"/>
              <a:gd name="connsiteY528" fmla="*/ 627303 h 3293790"/>
              <a:gd name="connsiteX529" fmla="*/ 1680283 w 10625630"/>
              <a:gd name="connsiteY529" fmla="*/ 650681 h 3293790"/>
              <a:gd name="connsiteX530" fmla="*/ 1680283 w 10625630"/>
              <a:gd name="connsiteY530" fmla="*/ 762017 h 3293790"/>
              <a:gd name="connsiteX531" fmla="*/ 1647210 w 10625630"/>
              <a:gd name="connsiteY531" fmla="*/ 795091 h 3293790"/>
              <a:gd name="connsiteX532" fmla="*/ 1623832 w 10625630"/>
              <a:gd name="connsiteY532" fmla="*/ 785395 h 3293790"/>
              <a:gd name="connsiteX533" fmla="*/ 1623556 w 10625630"/>
              <a:gd name="connsiteY533" fmla="*/ 784730 h 3293790"/>
              <a:gd name="connsiteX534" fmla="*/ 1623482 w 10625630"/>
              <a:gd name="connsiteY534" fmla="*/ 784699 h 3293790"/>
              <a:gd name="connsiteX535" fmla="*/ 1613786 w 10625630"/>
              <a:gd name="connsiteY535" fmla="*/ 761321 h 3293790"/>
              <a:gd name="connsiteX536" fmla="*/ 1613786 w 10625630"/>
              <a:gd name="connsiteY536" fmla="*/ 649985 h 3293790"/>
              <a:gd name="connsiteX537" fmla="*/ 1646860 w 10625630"/>
              <a:gd name="connsiteY537" fmla="*/ 616911 h 3293790"/>
              <a:gd name="connsiteX538" fmla="*/ 1646860 w 10625630"/>
              <a:gd name="connsiteY538" fmla="*/ 83555 h 3293790"/>
              <a:gd name="connsiteX539" fmla="*/ 541433 w 10625630"/>
              <a:gd name="connsiteY539" fmla="*/ 541433 h 3293790"/>
              <a:gd name="connsiteX540" fmla="*/ 83555 w 10625630"/>
              <a:gd name="connsiteY540" fmla="*/ 1646930 h 3293790"/>
              <a:gd name="connsiteX541" fmla="*/ 541433 w 10625630"/>
              <a:gd name="connsiteY541" fmla="*/ 2752356 h 3293790"/>
              <a:gd name="connsiteX542" fmla="*/ 1646860 w 10625630"/>
              <a:gd name="connsiteY542" fmla="*/ 3210235 h 3293790"/>
              <a:gd name="connsiteX543" fmla="*/ 2752287 w 10625630"/>
              <a:gd name="connsiteY543" fmla="*/ 2752356 h 3293790"/>
              <a:gd name="connsiteX544" fmla="*/ 3210166 w 10625630"/>
              <a:gd name="connsiteY544" fmla="*/ 1646930 h 3293790"/>
              <a:gd name="connsiteX545" fmla="*/ 2752287 w 10625630"/>
              <a:gd name="connsiteY545" fmla="*/ 541503 h 3293790"/>
              <a:gd name="connsiteX546" fmla="*/ 1646860 w 10625630"/>
              <a:gd name="connsiteY546" fmla="*/ 83555 h 3293790"/>
              <a:gd name="connsiteX547" fmla="*/ 1646860 w 10625630"/>
              <a:gd name="connsiteY547" fmla="*/ 0 h 3293790"/>
              <a:gd name="connsiteX548" fmla="*/ 2811332 w 10625630"/>
              <a:gd name="connsiteY548" fmla="*/ 482388 h 3293790"/>
              <a:gd name="connsiteX549" fmla="*/ 3293721 w 10625630"/>
              <a:gd name="connsiteY549" fmla="*/ 1646930 h 3293790"/>
              <a:gd name="connsiteX550" fmla="*/ 2811332 w 10625630"/>
              <a:gd name="connsiteY550" fmla="*/ 2811471 h 3293790"/>
              <a:gd name="connsiteX551" fmla="*/ 1646860 w 10625630"/>
              <a:gd name="connsiteY551" fmla="*/ 3293790 h 3293790"/>
              <a:gd name="connsiteX552" fmla="*/ 1646860 w 10625630"/>
              <a:gd name="connsiteY552" fmla="*/ 3293720 h 3293790"/>
              <a:gd name="connsiteX553" fmla="*/ 482319 w 10625630"/>
              <a:gd name="connsiteY553" fmla="*/ 2811402 h 3293790"/>
              <a:gd name="connsiteX554" fmla="*/ 0 w 10625630"/>
              <a:gd name="connsiteY554" fmla="*/ 1646930 h 3293790"/>
              <a:gd name="connsiteX555" fmla="*/ 482388 w 10625630"/>
              <a:gd name="connsiteY555" fmla="*/ 482388 h 3293790"/>
              <a:gd name="connsiteX556" fmla="*/ 1646860 w 10625630"/>
              <a:gd name="connsiteY556" fmla="*/ 0 h 329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0625630" h="3293790">
                <a:moveTo>
                  <a:pt x="1001191" y="2343357"/>
                </a:moveTo>
                <a:lnTo>
                  <a:pt x="2292526" y="2343357"/>
                </a:lnTo>
                <a:lnTo>
                  <a:pt x="2292526" y="2344053"/>
                </a:lnTo>
                <a:lnTo>
                  <a:pt x="2292875" y="2344053"/>
                </a:lnTo>
                <a:lnTo>
                  <a:pt x="2292875" y="2410200"/>
                </a:lnTo>
                <a:lnTo>
                  <a:pt x="1001542" y="2410200"/>
                </a:lnTo>
                <a:lnTo>
                  <a:pt x="1001542" y="2409504"/>
                </a:lnTo>
                <a:lnTo>
                  <a:pt x="1001191" y="2409504"/>
                </a:lnTo>
                <a:close/>
                <a:moveTo>
                  <a:pt x="1001191" y="2232020"/>
                </a:moveTo>
                <a:lnTo>
                  <a:pt x="2292527" y="2232020"/>
                </a:lnTo>
                <a:lnTo>
                  <a:pt x="2292527" y="2232717"/>
                </a:lnTo>
                <a:lnTo>
                  <a:pt x="2292875" y="2232717"/>
                </a:lnTo>
                <a:lnTo>
                  <a:pt x="2292875" y="2298864"/>
                </a:lnTo>
                <a:lnTo>
                  <a:pt x="1001542" y="2298864"/>
                </a:lnTo>
                <a:lnTo>
                  <a:pt x="1001542" y="2298167"/>
                </a:lnTo>
                <a:lnTo>
                  <a:pt x="1001191" y="2298167"/>
                </a:lnTo>
                <a:close/>
                <a:moveTo>
                  <a:pt x="1001191" y="2120684"/>
                </a:moveTo>
                <a:lnTo>
                  <a:pt x="2292526" y="2120684"/>
                </a:lnTo>
                <a:lnTo>
                  <a:pt x="2292526" y="2121380"/>
                </a:lnTo>
                <a:lnTo>
                  <a:pt x="2292875" y="2121380"/>
                </a:lnTo>
                <a:lnTo>
                  <a:pt x="2292875" y="2187527"/>
                </a:lnTo>
                <a:lnTo>
                  <a:pt x="1001542" y="2187527"/>
                </a:lnTo>
                <a:lnTo>
                  <a:pt x="1001542" y="2186831"/>
                </a:lnTo>
                <a:lnTo>
                  <a:pt x="1001191" y="2186831"/>
                </a:lnTo>
                <a:close/>
                <a:moveTo>
                  <a:pt x="7350432" y="1737238"/>
                </a:moveTo>
                <a:cubicBezTo>
                  <a:pt x="7263326" y="1737238"/>
                  <a:pt x="7219808" y="1762722"/>
                  <a:pt x="7219808" y="1813691"/>
                </a:cubicBezTo>
                <a:cubicBezTo>
                  <a:pt x="7219808" y="1835972"/>
                  <a:pt x="7227258" y="1853379"/>
                  <a:pt x="7242089" y="1865912"/>
                </a:cubicBezTo>
                <a:cubicBezTo>
                  <a:pt x="7256920" y="1878445"/>
                  <a:pt x="7275998" y="1884712"/>
                  <a:pt x="7299323" y="1884712"/>
                </a:cubicBezTo>
                <a:lnTo>
                  <a:pt x="7299323" y="1884782"/>
                </a:lnTo>
                <a:cubicBezTo>
                  <a:pt x="7321605" y="1884782"/>
                  <a:pt x="7342772" y="1879002"/>
                  <a:pt x="7362686" y="1867514"/>
                </a:cubicBezTo>
                <a:cubicBezTo>
                  <a:pt x="7382600" y="1856025"/>
                  <a:pt x="7397152" y="1840985"/>
                  <a:pt x="7406135" y="1822534"/>
                </a:cubicBezTo>
                <a:lnTo>
                  <a:pt x="7406135" y="1737238"/>
                </a:lnTo>
                <a:close/>
                <a:moveTo>
                  <a:pt x="6668556" y="1737238"/>
                </a:moveTo>
                <a:cubicBezTo>
                  <a:pt x="6581450" y="1737238"/>
                  <a:pt x="6537932" y="1762722"/>
                  <a:pt x="6537932" y="1813691"/>
                </a:cubicBezTo>
                <a:cubicBezTo>
                  <a:pt x="6537932" y="1835972"/>
                  <a:pt x="6545383" y="1853379"/>
                  <a:pt x="6560214" y="1865912"/>
                </a:cubicBezTo>
                <a:cubicBezTo>
                  <a:pt x="6575045" y="1878445"/>
                  <a:pt x="6594123" y="1884712"/>
                  <a:pt x="6617449" y="1884712"/>
                </a:cubicBezTo>
                <a:lnTo>
                  <a:pt x="6617518" y="1884782"/>
                </a:lnTo>
                <a:cubicBezTo>
                  <a:pt x="6639799" y="1884782"/>
                  <a:pt x="6660897" y="1879002"/>
                  <a:pt x="6680881" y="1867514"/>
                </a:cubicBezTo>
                <a:cubicBezTo>
                  <a:pt x="6700864" y="1856025"/>
                  <a:pt x="6715347" y="1840985"/>
                  <a:pt x="6724259" y="1822534"/>
                </a:cubicBezTo>
                <a:lnTo>
                  <a:pt x="6724259" y="1737238"/>
                </a:lnTo>
                <a:close/>
                <a:moveTo>
                  <a:pt x="5799937" y="1737238"/>
                </a:moveTo>
                <a:cubicBezTo>
                  <a:pt x="5712832" y="1737238"/>
                  <a:pt x="5669314" y="1762722"/>
                  <a:pt x="5669314" y="1813691"/>
                </a:cubicBezTo>
                <a:cubicBezTo>
                  <a:pt x="5669314" y="1835972"/>
                  <a:pt x="5676764" y="1853379"/>
                  <a:pt x="5691595" y="1865912"/>
                </a:cubicBezTo>
                <a:cubicBezTo>
                  <a:pt x="5706426" y="1878445"/>
                  <a:pt x="5725504" y="1884712"/>
                  <a:pt x="5748830" y="1884712"/>
                </a:cubicBezTo>
                <a:lnTo>
                  <a:pt x="5748899" y="1884782"/>
                </a:lnTo>
                <a:cubicBezTo>
                  <a:pt x="5771181" y="1884782"/>
                  <a:pt x="5792278" y="1879002"/>
                  <a:pt x="5812262" y="1867514"/>
                </a:cubicBezTo>
                <a:cubicBezTo>
                  <a:pt x="5832245" y="1856025"/>
                  <a:pt x="5846728" y="1840985"/>
                  <a:pt x="5855640" y="1822534"/>
                </a:cubicBezTo>
                <a:lnTo>
                  <a:pt x="5855640" y="1737238"/>
                </a:lnTo>
                <a:close/>
                <a:moveTo>
                  <a:pt x="6201068" y="1575908"/>
                </a:moveTo>
                <a:cubicBezTo>
                  <a:pt x="6166254" y="1575908"/>
                  <a:pt x="6139099" y="1589347"/>
                  <a:pt x="6119603" y="1616224"/>
                </a:cubicBezTo>
                <a:cubicBezTo>
                  <a:pt x="6100106" y="1643100"/>
                  <a:pt x="6090428" y="1682928"/>
                  <a:pt x="6090428" y="1735707"/>
                </a:cubicBezTo>
                <a:cubicBezTo>
                  <a:pt x="6090428" y="1782845"/>
                  <a:pt x="6100176" y="1819748"/>
                  <a:pt x="6119603" y="1846347"/>
                </a:cubicBezTo>
                <a:cubicBezTo>
                  <a:pt x="6139029" y="1873015"/>
                  <a:pt x="6165975" y="1886314"/>
                  <a:pt x="6200302" y="1886314"/>
                </a:cubicBezTo>
                <a:cubicBezTo>
                  <a:pt x="6245352" y="1886314"/>
                  <a:pt x="6278286" y="1866052"/>
                  <a:pt x="6299036" y="1825597"/>
                </a:cubicBezTo>
                <a:lnTo>
                  <a:pt x="6299036" y="1634675"/>
                </a:lnTo>
                <a:cubicBezTo>
                  <a:pt x="6277799" y="1595474"/>
                  <a:pt x="6245143" y="1575908"/>
                  <a:pt x="6201068" y="1575908"/>
                </a:cubicBezTo>
                <a:close/>
                <a:moveTo>
                  <a:pt x="10047084" y="1574029"/>
                </a:moveTo>
                <a:cubicBezTo>
                  <a:pt x="10018397" y="1574029"/>
                  <a:pt x="9994306" y="1584473"/>
                  <a:pt x="9974879" y="1605362"/>
                </a:cubicBezTo>
                <a:cubicBezTo>
                  <a:pt x="9955383" y="1626250"/>
                  <a:pt x="9943407" y="1655494"/>
                  <a:pt x="9938742" y="1693163"/>
                </a:cubicBezTo>
                <a:lnTo>
                  <a:pt x="10147001" y="1693163"/>
                </a:lnTo>
                <a:lnTo>
                  <a:pt x="10147001" y="1687802"/>
                </a:lnTo>
                <a:cubicBezTo>
                  <a:pt x="10144982" y="1651665"/>
                  <a:pt x="10135234" y="1623674"/>
                  <a:pt x="10117827" y="1603830"/>
                </a:cubicBezTo>
                <a:cubicBezTo>
                  <a:pt x="10100420" y="1583986"/>
                  <a:pt x="10076816" y="1574029"/>
                  <a:pt x="10047154" y="1574029"/>
                </a:cubicBezTo>
                <a:close/>
                <a:moveTo>
                  <a:pt x="9038302" y="1574029"/>
                </a:moveTo>
                <a:cubicBezTo>
                  <a:pt x="9009615" y="1574029"/>
                  <a:pt x="8985524" y="1584473"/>
                  <a:pt x="8966097" y="1605362"/>
                </a:cubicBezTo>
                <a:cubicBezTo>
                  <a:pt x="8946601" y="1626250"/>
                  <a:pt x="8934625" y="1655494"/>
                  <a:pt x="8929960" y="1693163"/>
                </a:cubicBezTo>
                <a:lnTo>
                  <a:pt x="9138220" y="1693163"/>
                </a:lnTo>
                <a:lnTo>
                  <a:pt x="9138220" y="1687802"/>
                </a:lnTo>
                <a:cubicBezTo>
                  <a:pt x="9136200" y="1651665"/>
                  <a:pt x="9126452" y="1623674"/>
                  <a:pt x="9109045" y="1603830"/>
                </a:cubicBezTo>
                <a:cubicBezTo>
                  <a:pt x="9091638" y="1583986"/>
                  <a:pt x="9068034" y="1574029"/>
                  <a:pt x="9038372" y="1574029"/>
                </a:cubicBezTo>
                <a:close/>
                <a:moveTo>
                  <a:pt x="4738934" y="1523269"/>
                </a:moveTo>
                <a:lnTo>
                  <a:pt x="4810025" y="1523269"/>
                </a:lnTo>
                <a:lnTo>
                  <a:pt x="4810025" y="1938953"/>
                </a:lnTo>
                <a:lnTo>
                  <a:pt x="4738934" y="1938953"/>
                </a:lnTo>
                <a:close/>
                <a:moveTo>
                  <a:pt x="8201155" y="1523130"/>
                </a:moveTo>
                <a:lnTo>
                  <a:pt x="8278791" y="1523130"/>
                </a:lnTo>
                <a:lnTo>
                  <a:pt x="8382538" y="1834719"/>
                </a:lnTo>
                <a:lnTo>
                  <a:pt x="8382608" y="1834858"/>
                </a:lnTo>
                <a:lnTo>
                  <a:pt x="8479391" y="1523269"/>
                </a:lnTo>
                <a:lnTo>
                  <a:pt x="8555426" y="1523269"/>
                </a:lnTo>
                <a:lnTo>
                  <a:pt x="8388317" y="2003081"/>
                </a:lnTo>
                <a:cubicBezTo>
                  <a:pt x="8362485" y="2072223"/>
                  <a:pt x="8321334" y="2106828"/>
                  <a:pt x="8265005" y="2106828"/>
                </a:cubicBezTo>
                <a:lnTo>
                  <a:pt x="8251566" y="2105644"/>
                </a:lnTo>
                <a:lnTo>
                  <a:pt x="8225038" y="2100631"/>
                </a:lnTo>
                <a:lnTo>
                  <a:pt x="8225038" y="2042978"/>
                </a:lnTo>
                <a:lnTo>
                  <a:pt x="8244256" y="2044510"/>
                </a:lnTo>
                <a:cubicBezTo>
                  <a:pt x="8268347" y="2044510"/>
                  <a:pt x="8287077" y="2039636"/>
                  <a:pt x="8300515" y="2029888"/>
                </a:cubicBezTo>
                <a:cubicBezTo>
                  <a:pt x="8313954" y="2020140"/>
                  <a:pt x="8325025" y="2002385"/>
                  <a:pt x="8333728" y="1976483"/>
                </a:cubicBezTo>
                <a:lnTo>
                  <a:pt x="8349465" y="1934218"/>
                </a:lnTo>
                <a:close/>
                <a:moveTo>
                  <a:pt x="7322510" y="1515749"/>
                </a:moveTo>
                <a:cubicBezTo>
                  <a:pt x="7370415" y="1515749"/>
                  <a:pt x="7407945" y="1527725"/>
                  <a:pt x="7435100" y="1551677"/>
                </a:cubicBezTo>
                <a:cubicBezTo>
                  <a:pt x="7462255" y="1575630"/>
                  <a:pt x="7476320" y="1608564"/>
                  <a:pt x="7477365" y="1650620"/>
                </a:cubicBezTo>
                <a:lnTo>
                  <a:pt x="7477365" y="1841960"/>
                </a:lnTo>
                <a:cubicBezTo>
                  <a:pt x="7477365" y="1880116"/>
                  <a:pt x="7482238" y="1910475"/>
                  <a:pt x="7491987" y="1933034"/>
                </a:cubicBezTo>
                <a:lnTo>
                  <a:pt x="7491987" y="1939162"/>
                </a:lnTo>
                <a:lnTo>
                  <a:pt x="7417484" y="1939162"/>
                </a:lnTo>
                <a:lnTo>
                  <a:pt x="7417275" y="1938953"/>
                </a:lnTo>
                <a:cubicBezTo>
                  <a:pt x="7413167" y="1930737"/>
                  <a:pt x="7409824" y="1916184"/>
                  <a:pt x="7407318" y="1895156"/>
                </a:cubicBezTo>
                <a:cubicBezTo>
                  <a:pt x="7374244" y="1929483"/>
                  <a:pt x="7334835" y="1946612"/>
                  <a:pt x="7289018" y="1946612"/>
                </a:cubicBezTo>
                <a:cubicBezTo>
                  <a:pt x="7248007" y="1946612"/>
                  <a:pt x="7214446" y="1935053"/>
                  <a:pt x="7188196" y="1911867"/>
                </a:cubicBezTo>
                <a:cubicBezTo>
                  <a:pt x="7161946" y="1888681"/>
                  <a:pt x="7148786" y="1859298"/>
                  <a:pt x="7148786" y="1823717"/>
                </a:cubicBezTo>
                <a:cubicBezTo>
                  <a:pt x="7148786" y="1780408"/>
                  <a:pt x="7165218" y="1746847"/>
                  <a:pt x="7198153" y="1722895"/>
                </a:cubicBezTo>
                <a:cubicBezTo>
                  <a:pt x="7231088" y="1698942"/>
                  <a:pt x="7277391" y="1686966"/>
                  <a:pt x="7337063" y="1686966"/>
                </a:cubicBezTo>
                <a:lnTo>
                  <a:pt x="7406204" y="1686966"/>
                </a:lnTo>
                <a:lnTo>
                  <a:pt x="7406204" y="1654310"/>
                </a:lnTo>
                <a:cubicBezTo>
                  <a:pt x="7406204" y="1629453"/>
                  <a:pt x="7398754" y="1609678"/>
                  <a:pt x="7383923" y="1594987"/>
                </a:cubicBezTo>
                <a:cubicBezTo>
                  <a:pt x="7369092" y="1580225"/>
                  <a:pt x="7347158" y="1572914"/>
                  <a:pt x="7318263" y="1572914"/>
                </a:cubicBezTo>
                <a:cubicBezTo>
                  <a:pt x="7292918" y="1572914"/>
                  <a:pt x="7271611" y="1579320"/>
                  <a:pt x="7254483" y="1592132"/>
                </a:cubicBezTo>
                <a:cubicBezTo>
                  <a:pt x="7237354" y="1604943"/>
                  <a:pt x="7228720" y="1620471"/>
                  <a:pt x="7228720" y="1638644"/>
                </a:cubicBezTo>
                <a:lnTo>
                  <a:pt x="7157281" y="1638644"/>
                </a:lnTo>
                <a:cubicBezTo>
                  <a:pt x="7157281" y="1617894"/>
                  <a:pt x="7164662" y="1597841"/>
                  <a:pt x="7179353" y="1578554"/>
                </a:cubicBezTo>
                <a:cubicBezTo>
                  <a:pt x="7194045" y="1559267"/>
                  <a:pt x="7214028" y="1543949"/>
                  <a:pt x="7239303" y="1532669"/>
                </a:cubicBezTo>
                <a:cubicBezTo>
                  <a:pt x="7264509" y="1521389"/>
                  <a:pt x="7292291" y="1515749"/>
                  <a:pt x="7322510" y="1515749"/>
                </a:cubicBezTo>
                <a:close/>
                <a:moveTo>
                  <a:pt x="6640565" y="1515749"/>
                </a:moveTo>
                <a:cubicBezTo>
                  <a:pt x="6688470" y="1515749"/>
                  <a:pt x="6726000" y="1527725"/>
                  <a:pt x="6753155" y="1551677"/>
                </a:cubicBezTo>
                <a:cubicBezTo>
                  <a:pt x="6780310" y="1575630"/>
                  <a:pt x="6794375" y="1608564"/>
                  <a:pt x="6795420" y="1650620"/>
                </a:cubicBezTo>
                <a:lnTo>
                  <a:pt x="6795420" y="1841960"/>
                </a:lnTo>
                <a:cubicBezTo>
                  <a:pt x="6795420" y="1880116"/>
                  <a:pt x="6800294" y="1910475"/>
                  <a:pt x="6810042" y="1933034"/>
                </a:cubicBezTo>
                <a:lnTo>
                  <a:pt x="6810042" y="1939162"/>
                </a:lnTo>
                <a:lnTo>
                  <a:pt x="6735539" y="1939162"/>
                </a:lnTo>
                <a:lnTo>
                  <a:pt x="6735400" y="1938953"/>
                </a:lnTo>
                <a:cubicBezTo>
                  <a:pt x="6731292" y="1930737"/>
                  <a:pt x="6727950" y="1916184"/>
                  <a:pt x="6725443" y="1895156"/>
                </a:cubicBezTo>
                <a:cubicBezTo>
                  <a:pt x="6692369" y="1929483"/>
                  <a:pt x="6652959" y="1946612"/>
                  <a:pt x="6607143" y="1946612"/>
                </a:cubicBezTo>
                <a:cubicBezTo>
                  <a:pt x="6566132" y="1946612"/>
                  <a:pt x="6532571" y="1935053"/>
                  <a:pt x="6506321" y="1911867"/>
                </a:cubicBezTo>
                <a:cubicBezTo>
                  <a:pt x="6480071" y="1888681"/>
                  <a:pt x="6466911" y="1859298"/>
                  <a:pt x="6466911" y="1823717"/>
                </a:cubicBezTo>
                <a:cubicBezTo>
                  <a:pt x="6466911" y="1780408"/>
                  <a:pt x="6483344" y="1746847"/>
                  <a:pt x="6516278" y="1722895"/>
                </a:cubicBezTo>
                <a:cubicBezTo>
                  <a:pt x="6549212" y="1698942"/>
                  <a:pt x="6595446" y="1686966"/>
                  <a:pt x="6655188" y="1686966"/>
                </a:cubicBezTo>
                <a:lnTo>
                  <a:pt x="6724329" y="1686966"/>
                </a:lnTo>
                <a:lnTo>
                  <a:pt x="6724329" y="1654310"/>
                </a:lnTo>
                <a:cubicBezTo>
                  <a:pt x="6724329" y="1629453"/>
                  <a:pt x="6716879" y="1609678"/>
                  <a:pt x="6702048" y="1594987"/>
                </a:cubicBezTo>
                <a:cubicBezTo>
                  <a:pt x="6687217" y="1580225"/>
                  <a:pt x="6665284" y="1572914"/>
                  <a:pt x="6636318" y="1572914"/>
                </a:cubicBezTo>
                <a:cubicBezTo>
                  <a:pt x="6610973" y="1572914"/>
                  <a:pt x="6589667" y="1579320"/>
                  <a:pt x="6572538" y="1592132"/>
                </a:cubicBezTo>
                <a:cubicBezTo>
                  <a:pt x="6555409" y="1604943"/>
                  <a:pt x="6546775" y="1620471"/>
                  <a:pt x="6546775" y="1638644"/>
                </a:cubicBezTo>
                <a:lnTo>
                  <a:pt x="6475336" y="1638644"/>
                </a:lnTo>
                <a:cubicBezTo>
                  <a:pt x="6475336" y="1617894"/>
                  <a:pt x="6482717" y="1597841"/>
                  <a:pt x="6497408" y="1578554"/>
                </a:cubicBezTo>
                <a:cubicBezTo>
                  <a:pt x="6512100" y="1559267"/>
                  <a:pt x="6532084" y="1543949"/>
                  <a:pt x="6557359" y="1532669"/>
                </a:cubicBezTo>
                <a:cubicBezTo>
                  <a:pt x="6582565" y="1521389"/>
                  <a:pt x="6610277" y="1515749"/>
                  <a:pt x="6640565" y="1515749"/>
                </a:cubicBezTo>
                <a:close/>
                <a:moveTo>
                  <a:pt x="5772016" y="1515749"/>
                </a:moveTo>
                <a:cubicBezTo>
                  <a:pt x="5819921" y="1515749"/>
                  <a:pt x="5857451" y="1527725"/>
                  <a:pt x="5884606" y="1551677"/>
                </a:cubicBezTo>
                <a:cubicBezTo>
                  <a:pt x="5911761" y="1575630"/>
                  <a:pt x="5925826" y="1608564"/>
                  <a:pt x="5926871" y="1650620"/>
                </a:cubicBezTo>
                <a:lnTo>
                  <a:pt x="5926871" y="1841960"/>
                </a:lnTo>
                <a:cubicBezTo>
                  <a:pt x="5926871" y="1880116"/>
                  <a:pt x="5931745" y="1910475"/>
                  <a:pt x="5941493" y="1933034"/>
                </a:cubicBezTo>
                <a:lnTo>
                  <a:pt x="5941493" y="1939162"/>
                </a:lnTo>
                <a:lnTo>
                  <a:pt x="5866990" y="1939162"/>
                </a:lnTo>
                <a:lnTo>
                  <a:pt x="5866851" y="1938953"/>
                </a:lnTo>
                <a:cubicBezTo>
                  <a:pt x="5862743" y="1930737"/>
                  <a:pt x="5859400" y="1916184"/>
                  <a:pt x="5856894" y="1895156"/>
                </a:cubicBezTo>
                <a:cubicBezTo>
                  <a:pt x="5823820" y="1929483"/>
                  <a:pt x="5784410" y="1946612"/>
                  <a:pt x="5738594" y="1946612"/>
                </a:cubicBezTo>
                <a:cubicBezTo>
                  <a:pt x="5697583" y="1946612"/>
                  <a:pt x="5664022" y="1935053"/>
                  <a:pt x="5637772" y="1911867"/>
                </a:cubicBezTo>
                <a:cubicBezTo>
                  <a:pt x="5611522" y="1888681"/>
                  <a:pt x="5598362" y="1859298"/>
                  <a:pt x="5598362" y="1823717"/>
                </a:cubicBezTo>
                <a:cubicBezTo>
                  <a:pt x="5598362" y="1780408"/>
                  <a:pt x="5614795" y="1746847"/>
                  <a:pt x="5647729" y="1722895"/>
                </a:cubicBezTo>
                <a:cubicBezTo>
                  <a:pt x="5680663" y="1698942"/>
                  <a:pt x="5726897" y="1686966"/>
                  <a:pt x="5786639" y="1686966"/>
                </a:cubicBezTo>
                <a:lnTo>
                  <a:pt x="5855780" y="1686966"/>
                </a:lnTo>
                <a:lnTo>
                  <a:pt x="5855780" y="1654310"/>
                </a:lnTo>
                <a:cubicBezTo>
                  <a:pt x="5855780" y="1629453"/>
                  <a:pt x="5848330" y="1609678"/>
                  <a:pt x="5833499" y="1594987"/>
                </a:cubicBezTo>
                <a:cubicBezTo>
                  <a:pt x="5818668" y="1580225"/>
                  <a:pt x="5796734" y="1572914"/>
                  <a:pt x="5767769" y="1572914"/>
                </a:cubicBezTo>
                <a:cubicBezTo>
                  <a:pt x="5742424" y="1572914"/>
                  <a:pt x="5721118" y="1579320"/>
                  <a:pt x="5703989" y="1592132"/>
                </a:cubicBezTo>
                <a:cubicBezTo>
                  <a:pt x="5686860" y="1604943"/>
                  <a:pt x="5678226" y="1620471"/>
                  <a:pt x="5678226" y="1638644"/>
                </a:cubicBezTo>
                <a:lnTo>
                  <a:pt x="5606787" y="1638644"/>
                </a:lnTo>
                <a:cubicBezTo>
                  <a:pt x="5606787" y="1617894"/>
                  <a:pt x="5614168" y="1597841"/>
                  <a:pt x="5628859" y="1578554"/>
                </a:cubicBezTo>
                <a:cubicBezTo>
                  <a:pt x="5643551" y="1559267"/>
                  <a:pt x="5663535" y="1543949"/>
                  <a:pt x="5688810" y="1532669"/>
                </a:cubicBezTo>
                <a:cubicBezTo>
                  <a:pt x="5714016" y="1521389"/>
                  <a:pt x="5741728" y="1515749"/>
                  <a:pt x="5772016" y="1515749"/>
                </a:cubicBezTo>
                <a:close/>
                <a:moveTo>
                  <a:pt x="10047014" y="1515610"/>
                </a:moveTo>
                <a:cubicBezTo>
                  <a:pt x="10101046" y="1515610"/>
                  <a:pt x="10143033" y="1533435"/>
                  <a:pt x="10173043" y="1569015"/>
                </a:cubicBezTo>
                <a:cubicBezTo>
                  <a:pt x="10202983" y="1604596"/>
                  <a:pt x="10218023" y="1655564"/>
                  <a:pt x="10218023" y="1721920"/>
                </a:cubicBezTo>
                <a:lnTo>
                  <a:pt x="10218023" y="1751512"/>
                </a:lnTo>
                <a:lnTo>
                  <a:pt x="9936444" y="1751512"/>
                </a:lnTo>
                <a:cubicBezTo>
                  <a:pt x="9937488" y="1792524"/>
                  <a:pt x="9949464" y="1825597"/>
                  <a:pt x="9972372" y="1850803"/>
                </a:cubicBezTo>
                <a:cubicBezTo>
                  <a:pt x="9995281" y="1876009"/>
                  <a:pt x="10024455" y="1888611"/>
                  <a:pt x="10059757" y="1888611"/>
                </a:cubicBezTo>
                <a:cubicBezTo>
                  <a:pt x="10084823" y="1888611"/>
                  <a:pt x="10106129" y="1883459"/>
                  <a:pt x="10123536" y="1873224"/>
                </a:cubicBezTo>
                <a:cubicBezTo>
                  <a:pt x="10140943" y="1862988"/>
                  <a:pt x="10156193" y="1849410"/>
                  <a:pt x="10169283" y="1832491"/>
                </a:cubicBezTo>
                <a:lnTo>
                  <a:pt x="10212661" y="1866330"/>
                </a:lnTo>
                <a:cubicBezTo>
                  <a:pt x="10177847" y="1919875"/>
                  <a:pt x="10125556" y="1946612"/>
                  <a:pt x="10055927" y="1946612"/>
                </a:cubicBezTo>
                <a:lnTo>
                  <a:pt x="10055927" y="1946682"/>
                </a:lnTo>
                <a:cubicBezTo>
                  <a:pt x="9999598" y="1946682"/>
                  <a:pt x="9953712" y="1928161"/>
                  <a:pt x="9918410" y="1891188"/>
                </a:cubicBezTo>
                <a:cubicBezTo>
                  <a:pt x="9883109" y="1854215"/>
                  <a:pt x="9865353" y="1804709"/>
                  <a:pt x="9865353" y="1742670"/>
                </a:cubicBezTo>
                <a:lnTo>
                  <a:pt x="9865353" y="1729579"/>
                </a:lnTo>
                <a:cubicBezTo>
                  <a:pt x="9865353" y="1688359"/>
                  <a:pt x="9873221" y="1651525"/>
                  <a:pt x="9888957" y="1619148"/>
                </a:cubicBezTo>
                <a:cubicBezTo>
                  <a:pt x="9904693" y="1586771"/>
                  <a:pt x="9926766" y="1561426"/>
                  <a:pt x="9955035" y="1543113"/>
                </a:cubicBezTo>
                <a:cubicBezTo>
                  <a:pt x="9983305" y="1524801"/>
                  <a:pt x="10014010" y="1515610"/>
                  <a:pt x="10047014" y="1515610"/>
                </a:cubicBezTo>
                <a:close/>
                <a:moveTo>
                  <a:pt x="9629939" y="1515610"/>
                </a:moveTo>
                <a:cubicBezTo>
                  <a:pt x="9677077" y="1515610"/>
                  <a:pt x="9715303" y="1527795"/>
                  <a:pt x="9744617" y="1552096"/>
                </a:cubicBezTo>
                <a:cubicBezTo>
                  <a:pt x="9773931" y="1576466"/>
                  <a:pt x="9788622" y="1607520"/>
                  <a:pt x="9788622" y="1645468"/>
                </a:cubicBezTo>
                <a:lnTo>
                  <a:pt x="9717183" y="1645468"/>
                </a:lnTo>
                <a:cubicBezTo>
                  <a:pt x="9717183" y="1626041"/>
                  <a:pt x="9708898" y="1609191"/>
                  <a:pt x="9692396" y="1595126"/>
                </a:cubicBezTo>
                <a:cubicBezTo>
                  <a:pt x="9675894" y="1581061"/>
                  <a:pt x="9655075" y="1574029"/>
                  <a:pt x="9629939" y="1574029"/>
                </a:cubicBezTo>
                <a:cubicBezTo>
                  <a:pt x="9604802" y="1574029"/>
                  <a:pt x="9583845" y="1579669"/>
                  <a:pt x="9569222" y="1590948"/>
                </a:cubicBezTo>
                <a:cubicBezTo>
                  <a:pt x="9554600" y="1602228"/>
                  <a:pt x="9547289" y="1616920"/>
                  <a:pt x="9547289" y="1635093"/>
                </a:cubicBezTo>
                <a:cubicBezTo>
                  <a:pt x="9547289" y="1652222"/>
                  <a:pt x="9554043" y="1665173"/>
                  <a:pt x="9567620" y="1673876"/>
                </a:cubicBezTo>
                <a:cubicBezTo>
                  <a:pt x="9581199" y="1682580"/>
                  <a:pt x="9605707" y="1690935"/>
                  <a:pt x="9641219" y="1698873"/>
                </a:cubicBezTo>
                <a:cubicBezTo>
                  <a:pt x="9676659" y="1706811"/>
                  <a:pt x="9705416" y="1716280"/>
                  <a:pt x="9727488" y="1727282"/>
                </a:cubicBezTo>
                <a:cubicBezTo>
                  <a:pt x="9749491" y="1738283"/>
                  <a:pt x="9765853" y="1751582"/>
                  <a:pt x="9776507" y="1767040"/>
                </a:cubicBezTo>
                <a:cubicBezTo>
                  <a:pt x="9787160" y="1782567"/>
                  <a:pt x="9792452" y="1801436"/>
                  <a:pt x="9792452" y="1823717"/>
                </a:cubicBezTo>
                <a:cubicBezTo>
                  <a:pt x="9792452" y="1860830"/>
                  <a:pt x="9777621" y="1890631"/>
                  <a:pt x="9747890" y="1913051"/>
                </a:cubicBezTo>
                <a:cubicBezTo>
                  <a:pt x="9718158" y="1935472"/>
                  <a:pt x="9679653" y="1946682"/>
                  <a:pt x="9632236" y="1946682"/>
                </a:cubicBezTo>
                <a:cubicBezTo>
                  <a:pt x="9598953" y="1946682"/>
                  <a:pt x="9569501" y="1940763"/>
                  <a:pt x="9543877" y="1928996"/>
                </a:cubicBezTo>
                <a:cubicBezTo>
                  <a:pt x="9518254" y="1917229"/>
                  <a:pt x="9498201" y="1900727"/>
                  <a:pt x="9483787" y="1879629"/>
                </a:cubicBezTo>
                <a:cubicBezTo>
                  <a:pt x="9469305" y="1858462"/>
                  <a:pt x="9462063" y="1835624"/>
                  <a:pt x="9462063" y="1811045"/>
                </a:cubicBezTo>
                <a:lnTo>
                  <a:pt x="9533155" y="1811045"/>
                </a:lnTo>
                <a:cubicBezTo>
                  <a:pt x="9534407" y="1834858"/>
                  <a:pt x="9543947" y="1853727"/>
                  <a:pt x="9561772" y="1867723"/>
                </a:cubicBezTo>
                <a:cubicBezTo>
                  <a:pt x="9579596" y="1881718"/>
                  <a:pt x="9603061" y="1888681"/>
                  <a:pt x="9632236" y="1888681"/>
                </a:cubicBezTo>
                <a:cubicBezTo>
                  <a:pt x="9659113" y="1888681"/>
                  <a:pt x="9680698" y="1883250"/>
                  <a:pt x="9696991" y="1872388"/>
                </a:cubicBezTo>
                <a:cubicBezTo>
                  <a:pt x="9713284" y="1861526"/>
                  <a:pt x="9721361" y="1846973"/>
                  <a:pt x="9721361" y="1828800"/>
                </a:cubicBezTo>
                <a:lnTo>
                  <a:pt x="9721361" y="1828731"/>
                </a:lnTo>
                <a:cubicBezTo>
                  <a:pt x="9721361" y="1809513"/>
                  <a:pt x="9714120" y="1794613"/>
                  <a:pt x="9699636" y="1783959"/>
                </a:cubicBezTo>
                <a:cubicBezTo>
                  <a:pt x="9685154" y="1773306"/>
                  <a:pt x="9659948" y="1764185"/>
                  <a:pt x="9623950" y="1756456"/>
                </a:cubicBezTo>
                <a:cubicBezTo>
                  <a:pt x="9587952" y="1748727"/>
                  <a:pt x="9559405" y="1739536"/>
                  <a:pt x="9538307" y="1728813"/>
                </a:cubicBezTo>
                <a:cubicBezTo>
                  <a:pt x="9517140" y="1718091"/>
                  <a:pt x="9501543" y="1705279"/>
                  <a:pt x="9491447" y="1690378"/>
                </a:cubicBezTo>
                <a:cubicBezTo>
                  <a:pt x="9481350" y="1675547"/>
                  <a:pt x="9476268" y="1657862"/>
                  <a:pt x="9476268" y="1637391"/>
                </a:cubicBezTo>
                <a:cubicBezTo>
                  <a:pt x="9476268" y="1603342"/>
                  <a:pt x="9490681" y="1574516"/>
                  <a:pt x="9519507" y="1550981"/>
                </a:cubicBezTo>
                <a:cubicBezTo>
                  <a:pt x="9548333" y="1527447"/>
                  <a:pt x="9585167" y="1515610"/>
                  <a:pt x="9629939" y="1515610"/>
                </a:cubicBezTo>
                <a:close/>
                <a:moveTo>
                  <a:pt x="9038232" y="1515610"/>
                </a:moveTo>
                <a:cubicBezTo>
                  <a:pt x="9092264" y="1515610"/>
                  <a:pt x="9134251" y="1533435"/>
                  <a:pt x="9164261" y="1569015"/>
                </a:cubicBezTo>
                <a:cubicBezTo>
                  <a:pt x="9194201" y="1604596"/>
                  <a:pt x="9209241" y="1655564"/>
                  <a:pt x="9209241" y="1721920"/>
                </a:cubicBezTo>
                <a:lnTo>
                  <a:pt x="9209241" y="1751512"/>
                </a:lnTo>
                <a:lnTo>
                  <a:pt x="8927662" y="1751512"/>
                </a:lnTo>
                <a:cubicBezTo>
                  <a:pt x="8928706" y="1792524"/>
                  <a:pt x="8940682" y="1825597"/>
                  <a:pt x="8963590" y="1850803"/>
                </a:cubicBezTo>
                <a:cubicBezTo>
                  <a:pt x="8986499" y="1876009"/>
                  <a:pt x="9015673" y="1888611"/>
                  <a:pt x="9050975" y="1888611"/>
                </a:cubicBezTo>
                <a:cubicBezTo>
                  <a:pt x="9076041" y="1888611"/>
                  <a:pt x="9097347" y="1883459"/>
                  <a:pt x="9114754" y="1873224"/>
                </a:cubicBezTo>
                <a:cubicBezTo>
                  <a:pt x="9132161" y="1862988"/>
                  <a:pt x="9147411" y="1849410"/>
                  <a:pt x="9160501" y="1832491"/>
                </a:cubicBezTo>
                <a:lnTo>
                  <a:pt x="9203879" y="1866330"/>
                </a:lnTo>
                <a:cubicBezTo>
                  <a:pt x="9169065" y="1919875"/>
                  <a:pt x="9116774" y="1946612"/>
                  <a:pt x="9047145" y="1946612"/>
                </a:cubicBezTo>
                <a:lnTo>
                  <a:pt x="9047145" y="1946682"/>
                </a:lnTo>
                <a:cubicBezTo>
                  <a:pt x="8990816" y="1946682"/>
                  <a:pt x="8944930" y="1928161"/>
                  <a:pt x="8909628" y="1891188"/>
                </a:cubicBezTo>
                <a:cubicBezTo>
                  <a:pt x="8874327" y="1854215"/>
                  <a:pt x="8856571" y="1804709"/>
                  <a:pt x="8856571" y="1742670"/>
                </a:cubicBezTo>
                <a:lnTo>
                  <a:pt x="8856571" y="1729579"/>
                </a:lnTo>
                <a:cubicBezTo>
                  <a:pt x="8856571" y="1688359"/>
                  <a:pt x="8864439" y="1651525"/>
                  <a:pt x="8880175" y="1619148"/>
                </a:cubicBezTo>
                <a:cubicBezTo>
                  <a:pt x="8895911" y="1586771"/>
                  <a:pt x="8917984" y="1561426"/>
                  <a:pt x="8946253" y="1543113"/>
                </a:cubicBezTo>
                <a:cubicBezTo>
                  <a:pt x="8974523" y="1524801"/>
                  <a:pt x="9005228" y="1515610"/>
                  <a:pt x="9038232" y="1515610"/>
                </a:cubicBezTo>
                <a:close/>
                <a:moveTo>
                  <a:pt x="8786734" y="1515610"/>
                </a:moveTo>
                <a:cubicBezTo>
                  <a:pt x="8800590" y="1515610"/>
                  <a:pt x="8811104" y="1517420"/>
                  <a:pt x="8818276" y="1520971"/>
                </a:cubicBezTo>
                <a:lnTo>
                  <a:pt x="8818276" y="1587049"/>
                </a:lnTo>
                <a:cubicBezTo>
                  <a:pt x="8807552" y="1585239"/>
                  <a:pt x="8795855" y="1584334"/>
                  <a:pt x="8783322" y="1584334"/>
                </a:cubicBezTo>
                <a:cubicBezTo>
                  <a:pt x="8736671" y="1584334"/>
                  <a:pt x="8705059" y="1604178"/>
                  <a:pt x="8688418" y="1643866"/>
                </a:cubicBezTo>
                <a:lnTo>
                  <a:pt x="8688418" y="1938953"/>
                </a:lnTo>
                <a:lnTo>
                  <a:pt x="8617327" y="1938953"/>
                </a:lnTo>
                <a:lnTo>
                  <a:pt x="8617327" y="1523269"/>
                </a:lnTo>
                <a:lnTo>
                  <a:pt x="8686469" y="1523269"/>
                </a:lnTo>
                <a:lnTo>
                  <a:pt x="8687652" y="1571313"/>
                </a:lnTo>
                <a:cubicBezTo>
                  <a:pt x="8710977" y="1534201"/>
                  <a:pt x="8743981" y="1515610"/>
                  <a:pt x="8786734" y="1515610"/>
                </a:cubicBezTo>
                <a:close/>
                <a:moveTo>
                  <a:pt x="7737637" y="1515610"/>
                </a:moveTo>
                <a:cubicBezTo>
                  <a:pt x="7784776" y="1515610"/>
                  <a:pt x="7823002" y="1527795"/>
                  <a:pt x="7852315" y="1552096"/>
                </a:cubicBezTo>
                <a:cubicBezTo>
                  <a:pt x="7881629" y="1576466"/>
                  <a:pt x="7896320" y="1607520"/>
                  <a:pt x="7896320" y="1645468"/>
                </a:cubicBezTo>
                <a:lnTo>
                  <a:pt x="7824881" y="1645468"/>
                </a:lnTo>
                <a:cubicBezTo>
                  <a:pt x="7824881" y="1626041"/>
                  <a:pt x="7816596" y="1609191"/>
                  <a:pt x="7800094" y="1595126"/>
                </a:cubicBezTo>
                <a:cubicBezTo>
                  <a:pt x="7783592" y="1581061"/>
                  <a:pt x="7762773" y="1574029"/>
                  <a:pt x="7737637" y="1574029"/>
                </a:cubicBezTo>
                <a:cubicBezTo>
                  <a:pt x="7712501" y="1574029"/>
                  <a:pt x="7691543" y="1579669"/>
                  <a:pt x="7676920" y="1590948"/>
                </a:cubicBezTo>
                <a:cubicBezTo>
                  <a:pt x="7662298" y="1602228"/>
                  <a:pt x="7654988" y="1616920"/>
                  <a:pt x="7654988" y="1635093"/>
                </a:cubicBezTo>
                <a:cubicBezTo>
                  <a:pt x="7654988" y="1652222"/>
                  <a:pt x="7661741" y="1665173"/>
                  <a:pt x="7675319" y="1673876"/>
                </a:cubicBezTo>
                <a:cubicBezTo>
                  <a:pt x="7688897" y="1682580"/>
                  <a:pt x="7713406" y="1690935"/>
                  <a:pt x="7748917" y="1698873"/>
                </a:cubicBezTo>
                <a:cubicBezTo>
                  <a:pt x="7784358" y="1706811"/>
                  <a:pt x="7813114" y="1716280"/>
                  <a:pt x="7835187" y="1727282"/>
                </a:cubicBezTo>
                <a:cubicBezTo>
                  <a:pt x="7857189" y="1738283"/>
                  <a:pt x="7873552" y="1751582"/>
                  <a:pt x="7884205" y="1767040"/>
                </a:cubicBezTo>
                <a:cubicBezTo>
                  <a:pt x="7894858" y="1782567"/>
                  <a:pt x="7900150" y="1801436"/>
                  <a:pt x="7900150" y="1823717"/>
                </a:cubicBezTo>
                <a:cubicBezTo>
                  <a:pt x="7900150" y="1860830"/>
                  <a:pt x="7885319" y="1890631"/>
                  <a:pt x="7855588" y="1913051"/>
                </a:cubicBezTo>
                <a:cubicBezTo>
                  <a:pt x="7825856" y="1935472"/>
                  <a:pt x="7787352" y="1946682"/>
                  <a:pt x="7739934" y="1946682"/>
                </a:cubicBezTo>
                <a:cubicBezTo>
                  <a:pt x="7706652" y="1946682"/>
                  <a:pt x="7677199" y="1940763"/>
                  <a:pt x="7651576" y="1928996"/>
                </a:cubicBezTo>
                <a:cubicBezTo>
                  <a:pt x="7625952" y="1917229"/>
                  <a:pt x="7605899" y="1900727"/>
                  <a:pt x="7591486" y="1879629"/>
                </a:cubicBezTo>
                <a:cubicBezTo>
                  <a:pt x="7577003" y="1858462"/>
                  <a:pt x="7569762" y="1835624"/>
                  <a:pt x="7569762" y="1811045"/>
                </a:cubicBezTo>
                <a:lnTo>
                  <a:pt x="7640853" y="1811045"/>
                </a:lnTo>
                <a:cubicBezTo>
                  <a:pt x="7642106" y="1834858"/>
                  <a:pt x="7651646" y="1853727"/>
                  <a:pt x="7669470" y="1867723"/>
                </a:cubicBezTo>
                <a:cubicBezTo>
                  <a:pt x="7687295" y="1881718"/>
                  <a:pt x="7710760" y="1888681"/>
                  <a:pt x="7739934" y="1888681"/>
                </a:cubicBezTo>
                <a:cubicBezTo>
                  <a:pt x="7766811" y="1888681"/>
                  <a:pt x="7788396" y="1883250"/>
                  <a:pt x="7804689" y="1872388"/>
                </a:cubicBezTo>
                <a:cubicBezTo>
                  <a:pt x="7820982" y="1861526"/>
                  <a:pt x="7829060" y="1846973"/>
                  <a:pt x="7829060" y="1828800"/>
                </a:cubicBezTo>
                <a:lnTo>
                  <a:pt x="7829060" y="1828731"/>
                </a:lnTo>
                <a:cubicBezTo>
                  <a:pt x="7829060" y="1809513"/>
                  <a:pt x="7821818" y="1794613"/>
                  <a:pt x="7807335" y="1783959"/>
                </a:cubicBezTo>
                <a:cubicBezTo>
                  <a:pt x="7792852" y="1773306"/>
                  <a:pt x="7767646" y="1764185"/>
                  <a:pt x="7731649" y="1756456"/>
                </a:cubicBezTo>
                <a:cubicBezTo>
                  <a:pt x="7695651" y="1748727"/>
                  <a:pt x="7667103" y="1739536"/>
                  <a:pt x="7646005" y="1728813"/>
                </a:cubicBezTo>
                <a:cubicBezTo>
                  <a:pt x="7624838" y="1718091"/>
                  <a:pt x="7609241" y="1705279"/>
                  <a:pt x="7599145" y="1690378"/>
                </a:cubicBezTo>
                <a:cubicBezTo>
                  <a:pt x="7589048" y="1675547"/>
                  <a:pt x="7583966" y="1657862"/>
                  <a:pt x="7583966" y="1637391"/>
                </a:cubicBezTo>
                <a:cubicBezTo>
                  <a:pt x="7583966" y="1603342"/>
                  <a:pt x="7598379" y="1574516"/>
                  <a:pt x="7627206" y="1550981"/>
                </a:cubicBezTo>
                <a:cubicBezTo>
                  <a:pt x="7656031" y="1527447"/>
                  <a:pt x="7692865" y="1515610"/>
                  <a:pt x="7737637" y="1515610"/>
                </a:cubicBezTo>
                <a:close/>
                <a:moveTo>
                  <a:pt x="5114302" y="1515610"/>
                </a:moveTo>
                <a:cubicBezTo>
                  <a:pt x="5172442" y="1515610"/>
                  <a:pt x="5211991" y="1537891"/>
                  <a:pt x="5233019" y="1582454"/>
                </a:cubicBezTo>
                <a:cubicBezTo>
                  <a:pt x="5246876" y="1562470"/>
                  <a:pt x="5264840" y="1546316"/>
                  <a:pt x="5286982" y="1534062"/>
                </a:cubicBezTo>
                <a:cubicBezTo>
                  <a:pt x="5309124" y="1521737"/>
                  <a:pt x="5335304" y="1515610"/>
                  <a:pt x="5365523" y="1515610"/>
                </a:cubicBezTo>
                <a:cubicBezTo>
                  <a:pt x="5456667" y="1515610"/>
                  <a:pt x="5503040" y="1563863"/>
                  <a:pt x="5504572" y="1660438"/>
                </a:cubicBezTo>
                <a:lnTo>
                  <a:pt x="5504572" y="1938953"/>
                </a:lnTo>
                <a:lnTo>
                  <a:pt x="5433481" y="1938953"/>
                </a:lnTo>
                <a:lnTo>
                  <a:pt x="5433481" y="1664616"/>
                </a:lnTo>
                <a:cubicBezTo>
                  <a:pt x="5433481" y="1634884"/>
                  <a:pt x="5426657" y="1612673"/>
                  <a:pt x="5413149" y="1597981"/>
                </a:cubicBezTo>
                <a:cubicBezTo>
                  <a:pt x="5399571" y="1583220"/>
                  <a:pt x="5376803" y="1575909"/>
                  <a:pt x="5344774" y="1575909"/>
                </a:cubicBezTo>
                <a:cubicBezTo>
                  <a:pt x="5318384" y="1575909"/>
                  <a:pt x="5296521" y="1583777"/>
                  <a:pt x="5279044" y="1599513"/>
                </a:cubicBezTo>
                <a:cubicBezTo>
                  <a:pt x="5261637" y="1615249"/>
                  <a:pt x="5251541" y="1636486"/>
                  <a:pt x="5248686" y="1663084"/>
                </a:cubicBezTo>
                <a:lnTo>
                  <a:pt x="5248686" y="1938953"/>
                </a:lnTo>
                <a:lnTo>
                  <a:pt x="5177247" y="1938953"/>
                </a:lnTo>
                <a:lnTo>
                  <a:pt x="5177247" y="1666565"/>
                </a:lnTo>
                <a:cubicBezTo>
                  <a:pt x="5177247" y="1606127"/>
                  <a:pt x="5147654" y="1575909"/>
                  <a:pt x="5088470" y="1575909"/>
                </a:cubicBezTo>
                <a:cubicBezTo>
                  <a:pt x="5041819" y="1575909"/>
                  <a:pt x="5009998" y="1595753"/>
                  <a:pt x="4992800" y="1635441"/>
                </a:cubicBezTo>
                <a:lnTo>
                  <a:pt x="4992800" y="1938953"/>
                </a:lnTo>
                <a:lnTo>
                  <a:pt x="4921709" y="1938953"/>
                </a:lnTo>
                <a:lnTo>
                  <a:pt x="4921709" y="1523269"/>
                </a:lnTo>
                <a:lnTo>
                  <a:pt x="4988971" y="1523269"/>
                </a:lnTo>
                <a:lnTo>
                  <a:pt x="4989040" y="1523269"/>
                </a:lnTo>
                <a:lnTo>
                  <a:pt x="4990990" y="1569363"/>
                </a:lnTo>
                <a:cubicBezTo>
                  <a:pt x="5021487" y="1533505"/>
                  <a:pt x="5062568" y="1515610"/>
                  <a:pt x="5114302" y="1515610"/>
                </a:cubicBezTo>
                <a:close/>
                <a:moveTo>
                  <a:pt x="10492708" y="1515540"/>
                </a:moveTo>
                <a:cubicBezTo>
                  <a:pt x="10580580" y="1515540"/>
                  <a:pt x="10624864" y="1565116"/>
                  <a:pt x="10625630" y="1664198"/>
                </a:cubicBezTo>
                <a:lnTo>
                  <a:pt x="10625630" y="1938883"/>
                </a:lnTo>
                <a:lnTo>
                  <a:pt x="10554539" y="1938883"/>
                </a:lnTo>
                <a:lnTo>
                  <a:pt x="10554539" y="1663780"/>
                </a:lnTo>
                <a:cubicBezTo>
                  <a:pt x="10554261" y="1633839"/>
                  <a:pt x="10547437" y="1611628"/>
                  <a:pt x="10533999" y="1597284"/>
                </a:cubicBezTo>
                <a:cubicBezTo>
                  <a:pt x="10520560" y="1582941"/>
                  <a:pt x="10499602" y="1575769"/>
                  <a:pt x="10471193" y="1575769"/>
                </a:cubicBezTo>
                <a:cubicBezTo>
                  <a:pt x="10448146" y="1575769"/>
                  <a:pt x="10427884" y="1581896"/>
                  <a:pt x="10410477" y="1594221"/>
                </a:cubicBezTo>
                <a:cubicBezTo>
                  <a:pt x="10393070" y="1606545"/>
                  <a:pt x="10379492" y="1622629"/>
                  <a:pt x="10369745" y="1642613"/>
                </a:cubicBezTo>
                <a:lnTo>
                  <a:pt x="10369745" y="1938813"/>
                </a:lnTo>
                <a:lnTo>
                  <a:pt x="10298653" y="1938813"/>
                </a:lnTo>
                <a:lnTo>
                  <a:pt x="10298653" y="1523130"/>
                </a:lnTo>
                <a:lnTo>
                  <a:pt x="10365915" y="1523130"/>
                </a:lnTo>
                <a:lnTo>
                  <a:pt x="10365915" y="1523269"/>
                </a:lnTo>
                <a:lnTo>
                  <a:pt x="10368212" y="1575490"/>
                </a:lnTo>
                <a:cubicBezTo>
                  <a:pt x="10399963" y="1535523"/>
                  <a:pt x="10441462" y="1515540"/>
                  <a:pt x="10492708" y="1515540"/>
                </a:cubicBezTo>
                <a:close/>
                <a:moveTo>
                  <a:pt x="8016569" y="1422725"/>
                </a:moveTo>
                <a:lnTo>
                  <a:pt x="8087591" y="1422725"/>
                </a:lnTo>
                <a:lnTo>
                  <a:pt x="8087591" y="1523338"/>
                </a:lnTo>
                <a:lnTo>
                  <a:pt x="8165158" y="1523338"/>
                </a:lnTo>
                <a:lnTo>
                  <a:pt x="8165158" y="1578275"/>
                </a:lnTo>
                <a:lnTo>
                  <a:pt x="8087591" y="1578275"/>
                </a:lnTo>
                <a:lnTo>
                  <a:pt x="8087591" y="1836389"/>
                </a:lnTo>
                <a:cubicBezTo>
                  <a:pt x="8087591" y="1853030"/>
                  <a:pt x="8091073" y="1865564"/>
                  <a:pt x="8097966" y="1873919"/>
                </a:cubicBezTo>
                <a:cubicBezTo>
                  <a:pt x="8104859" y="1882275"/>
                  <a:pt x="8116626" y="1886383"/>
                  <a:pt x="8133337" y="1886383"/>
                </a:cubicBezTo>
                <a:cubicBezTo>
                  <a:pt x="8141554" y="1886383"/>
                  <a:pt x="8152764" y="1884851"/>
                  <a:pt x="8167177" y="1881787"/>
                </a:cubicBezTo>
                <a:lnTo>
                  <a:pt x="8167177" y="1939092"/>
                </a:lnTo>
                <a:cubicBezTo>
                  <a:pt x="8148447" y="1944175"/>
                  <a:pt x="8130274" y="1946751"/>
                  <a:pt x="8112658" y="1946751"/>
                </a:cubicBezTo>
                <a:cubicBezTo>
                  <a:pt x="8080906" y="1946751"/>
                  <a:pt x="8056954" y="1937142"/>
                  <a:pt x="8040800" y="1917924"/>
                </a:cubicBezTo>
                <a:cubicBezTo>
                  <a:pt x="8024647" y="1898707"/>
                  <a:pt x="8016569" y="1871413"/>
                  <a:pt x="8016569" y="1836111"/>
                </a:cubicBezTo>
                <a:lnTo>
                  <a:pt x="8016569" y="1578345"/>
                </a:lnTo>
                <a:lnTo>
                  <a:pt x="7940883" y="1578345"/>
                </a:lnTo>
                <a:lnTo>
                  <a:pt x="7940883" y="1523408"/>
                </a:lnTo>
                <a:lnTo>
                  <a:pt x="8016569" y="1523408"/>
                </a:lnTo>
                <a:close/>
                <a:moveTo>
                  <a:pt x="6930639" y="1422725"/>
                </a:moveTo>
                <a:lnTo>
                  <a:pt x="7001661" y="1422725"/>
                </a:lnTo>
                <a:lnTo>
                  <a:pt x="7001661" y="1523338"/>
                </a:lnTo>
                <a:lnTo>
                  <a:pt x="7079227" y="1523338"/>
                </a:lnTo>
                <a:lnTo>
                  <a:pt x="7079227" y="1578275"/>
                </a:lnTo>
                <a:lnTo>
                  <a:pt x="7001661" y="1578275"/>
                </a:lnTo>
                <a:lnTo>
                  <a:pt x="7001661" y="1836389"/>
                </a:lnTo>
                <a:cubicBezTo>
                  <a:pt x="7001661" y="1853030"/>
                  <a:pt x="7005142" y="1865564"/>
                  <a:pt x="7012036" y="1873919"/>
                </a:cubicBezTo>
                <a:cubicBezTo>
                  <a:pt x="7018929" y="1882275"/>
                  <a:pt x="7030696" y="1886383"/>
                  <a:pt x="7047407" y="1886383"/>
                </a:cubicBezTo>
                <a:cubicBezTo>
                  <a:pt x="7055623" y="1886383"/>
                  <a:pt x="7066833" y="1884851"/>
                  <a:pt x="7081247" y="1881787"/>
                </a:cubicBezTo>
                <a:lnTo>
                  <a:pt x="7081247" y="1939092"/>
                </a:lnTo>
                <a:cubicBezTo>
                  <a:pt x="7062516" y="1944175"/>
                  <a:pt x="7044343" y="1946751"/>
                  <a:pt x="7026727" y="1946751"/>
                </a:cubicBezTo>
                <a:cubicBezTo>
                  <a:pt x="6994976" y="1946751"/>
                  <a:pt x="6971024" y="1937142"/>
                  <a:pt x="6954870" y="1917924"/>
                </a:cubicBezTo>
                <a:cubicBezTo>
                  <a:pt x="6938716" y="1898707"/>
                  <a:pt x="6930639" y="1871413"/>
                  <a:pt x="6930639" y="1836111"/>
                </a:cubicBezTo>
                <a:lnTo>
                  <a:pt x="6930639" y="1578345"/>
                </a:lnTo>
                <a:lnTo>
                  <a:pt x="6854953" y="1578345"/>
                </a:lnTo>
                <a:lnTo>
                  <a:pt x="6854953" y="1523408"/>
                </a:lnTo>
                <a:lnTo>
                  <a:pt x="6930639" y="1523408"/>
                </a:lnTo>
                <a:close/>
                <a:moveTo>
                  <a:pt x="8087591" y="1422655"/>
                </a:moveTo>
                <a:lnTo>
                  <a:pt x="8087661" y="1422725"/>
                </a:lnTo>
                <a:lnTo>
                  <a:pt x="8087591" y="1422725"/>
                </a:lnTo>
                <a:close/>
                <a:moveTo>
                  <a:pt x="7001661" y="1422655"/>
                </a:moveTo>
                <a:lnTo>
                  <a:pt x="7001730" y="1422725"/>
                </a:lnTo>
                <a:lnTo>
                  <a:pt x="7001661" y="1422725"/>
                </a:lnTo>
                <a:close/>
                <a:moveTo>
                  <a:pt x="4062911" y="1379625"/>
                </a:moveTo>
                <a:lnTo>
                  <a:pt x="4136648" y="1379625"/>
                </a:lnTo>
                <a:lnTo>
                  <a:pt x="4136648" y="1656260"/>
                </a:lnTo>
                <a:lnTo>
                  <a:pt x="4385220" y="1379625"/>
                </a:lnTo>
                <a:lnTo>
                  <a:pt x="4474344" y="1379625"/>
                </a:lnTo>
                <a:lnTo>
                  <a:pt x="4254178" y="1626668"/>
                </a:lnTo>
                <a:lnTo>
                  <a:pt x="4491612" y="1939023"/>
                </a:lnTo>
                <a:lnTo>
                  <a:pt x="4403254" y="1939023"/>
                </a:lnTo>
                <a:lnTo>
                  <a:pt x="4205020" y="1678959"/>
                </a:lnTo>
                <a:lnTo>
                  <a:pt x="4205020" y="1678890"/>
                </a:lnTo>
                <a:lnTo>
                  <a:pt x="4136648" y="1749981"/>
                </a:lnTo>
                <a:lnTo>
                  <a:pt x="4136648" y="1939023"/>
                </a:lnTo>
                <a:lnTo>
                  <a:pt x="4062911" y="1939023"/>
                </a:lnTo>
                <a:close/>
                <a:moveTo>
                  <a:pt x="4775141" y="1371966"/>
                </a:moveTo>
                <a:cubicBezTo>
                  <a:pt x="4788997" y="1371966"/>
                  <a:pt x="4799441" y="1375935"/>
                  <a:pt x="4806613" y="1383872"/>
                </a:cubicBezTo>
                <a:cubicBezTo>
                  <a:pt x="4813785" y="1391810"/>
                  <a:pt x="4817336" y="1401558"/>
                  <a:pt x="4817336" y="1413047"/>
                </a:cubicBezTo>
                <a:cubicBezTo>
                  <a:pt x="4817336" y="1424536"/>
                  <a:pt x="4813715" y="1434214"/>
                  <a:pt x="4806613" y="1441873"/>
                </a:cubicBezTo>
                <a:cubicBezTo>
                  <a:pt x="4799441" y="1449532"/>
                  <a:pt x="4788927" y="1453432"/>
                  <a:pt x="4775141" y="1453432"/>
                </a:cubicBezTo>
                <a:cubicBezTo>
                  <a:pt x="4761354" y="1453432"/>
                  <a:pt x="4750840" y="1449602"/>
                  <a:pt x="4743808" y="1441873"/>
                </a:cubicBezTo>
                <a:cubicBezTo>
                  <a:pt x="4736775" y="1434144"/>
                  <a:pt x="4733224" y="1424605"/>
                  <a:pt x="4733224" y="1413047"/>
                </a:cubicBezTo>
                <a:cubicBezTo>
                  <a:pt x="4733224" y="1401489"/>
                  <a:pt x="4736775" y="1391810"/>
                  <a:pt x="4743808" y="1383872"/>
                </a:cubicBezTo>
                <a:cubicBezTo>
                  <a:pt x="4750840" y="1375935"/>
                  <a:pt x="4761285" y="1371966"/>
                  <a:pt x="4775141" y="1371966"/>
                </a:cubicBezTo>
                <a:close/>
                <a:moveTo>
                  <a:pt x="9296068" y="1348849"/>
                </a:moveTo>
                <a:lnTo>
                  <a:pt x="9367159" y="1348849"/>
                </a:lnTo>
                <a:lnTo>
                  <a:pt x="9367159" y="1938953"/>
                </a:lnTo>
                <a:lnTo>
                  <a:pt x="9296068" y="1938953"/>
                </a:lnTo>
                <a:close/>
                <a:moveTo>
                  <a:pt x="6299036" y="1348849"/>
                </a:moveTo>
                <a:lnTo>
                  <a:pt x="6370127" y="1348849"/>
                </a:lnTo>
                <a:lnTo>
                  <a:pt x="6370127" y="1938953"/>
                </a:lnTo>
                <a:lnTo>
                  <a:pt x="6304815" y="1938953"/>
                </a:lnTo>
                <a:lnTo>
                  <a:pt x="6301334" y="1894390"/>
                </a:lnTo>
                <a:cubicBezTo>
                  <a:pt x="6272925" y="1929205"/>
                  <a:pt x="6233306" y="1946612"/>
                  <a:pt x="6182617" y="1946612"/>
                </a:cubicBezTo>
                <a:cubicBezTo>
                  <a:pt x="6131927" y="1946612"/>
                  <a:pt x="6095233" y="1926907"/>
                  <a:pt x="6064874" y="1887428"/>
                </a:cubicBezTo>
                <a:cubicBezTo>
                  <a:pt x="6034516" y="1848018"/>
                  <a:pt x="6019337" y="1796492"/>
                  <a:pt x="6019337" y="1732991"/>
                </a:cubicBezTo>
                <a:lnTo>
                  <a:pt x="6019337" y="1727699"/>
                </a:lnTo>
                <a:cubicBezTo>
                  <a:pt x="6019337" y="1663919"/>
                  <a:pt x="6034446" y="1612603"/>
                  <a:pt x="6064665" y="1573820"/>
                </a:cubicBezTo>
                <a:cubicBezTo>
                  <a:pt x="6094884" y="1535036"/>
                  <a:pt x="6134433" y="1515610"/>
                  <a:pt x="6183382" y="1515610"/>
                </a:cubicBezTo>
                <a:cubicBezTo>
                  <a:pt x="6232331" y="1515610"/>
                  <a:pt x="6270558" y="1532251"/>
                  <a:pt x="6299036" y="1565534"/>
                </a:cubicBezTo>
                <a:close/>
                <a:moveTo>
                  <a:pt x="4549613" y="1348849"/>
                </a:moveTo>
                <a:lnTo>
                  <a:pt x="4620704" y="1348849"/>
                </a:lnTo>
                <a:lnTo>
                  <a:pt x="4620704" y="1938953"/>
                </a:lnTo>
                <a:lnTo>
                  <a:pt x="4549613" y="1938953"/>
                </a:lnTo>
                <a:close/>
                <a:moveTo>
                  <a:pt x="1647350" y="1074094"/>
                </a:moveTo>
                <a:cubicBezTo>
                  <a:pt x="1601673" y="1074094"/>
                  <a:pt x="1564561" y="1111276"/>
                  <a:pt x="1564561" y="1157022"/>
                </a:cubicBezTo>
                <a:lnTo>
                  <a:pt x="1571023" y="1189028"/>
                </a:lnTo>
                <a:lnTo>
                  <a:pt x="1588476" y="1214944"/>
                </a:lnTo>
                <a:cubicBezTo>
                  <a:pt x="1603463" y="1229958"/>
                  <a:pt x="1624160" y="1239253"/>
                  <a:pt x="1646999" y="1239253"/>
                </a:cubicBezTo>
                <a:cubicBezTo>
                  <a:pt x="1692675" y="1239253"/>
                  <a:pt x="1729787" y="1202071"/>
                  <a:pt x="1729787" y="1156325"/>
                </a:cubicBezTo>
                <a:lnTo>
                  <a:pt x="1723325" y="1124319"/>
                </a:lnTo>
                <a:lnTo>
                  <a:pt x="1705873" y="1098403"/>
                </a:lnTo>
                <a:cubicBezTo>
                  <a:pt x="1690885" y="1083390"/>
                  <a:pt x="1670188" y="1074094"/>
                  <a:pt x="1647350" y="1074094"/>
                </a:cubicBezTo>
                <a:close/>
                <a:moveTo>
                  <a:pt x="1646859" y="895844"/>
                </a:moveTo>
                <a:cubicBezTo>
                  <a:pt x="1655946" y="895844"/>
                  <a:pt x="1664197" y="899552"/>
                  <a:pt x="1670176" y="905540"/>
                </a:cubicBezTo>
                <a:lnTo>
                  <a:pt x="1670417" y="906121"/>
                </a:lnTo>
                <a:lnTo>
                  <a:pt x="1670527" y="906167"/>
                </a:lnTo>
                <a:cubicBezTo>
                  <a:pt x="1676506" y="912155"/>
                  <a:pt x="1680214" y="920424"/>
                  <a:pt x="1680214" y="929545"/>
                </a:cubicBezTo>
                <a:lnTo>
                  <a:pt x="1680214" y="1015824"/>
                </a:lnTo>
                <a:lnTo>
                  <a:pt x="1724115" y="1034469"/>
                </a:lnTo>
                <a:cubicBezTo>
                  <a:pt x="1737899" y="1043211"/>
                  <a:pt x="1750424" y="1054297"/>
                  <a:pt x="1760807" y="1067331"/>
                </a:cubicBezTo>
                <a:lnTo>
                  <a:pt x="1761129" y="1067932"/>
                </a:lnTo>
                <a:lnTo>
                  <a:pt x="1761158" y="1067958"/>
                </a:lnTo>
                <a:cubicBezTo>
                  <a:pt x="1771541" y="1080992"/>
                  <a:pt x="1779784" y="1095973"/>
                  <a:pt x="1785004" y="1112504"/>
                </a:cubicBezTo>
                <a:lnTo>
                  <a:pt x="1790638" y="1165629"/>
                </a:lnTo>
                <a:lnTo>
                  <a:pt x="1892075" y="1129997"/>
                </a:lnTo>
                <a:cubicBezTo>
                  <a:pt x="1926384" y="1122033"/>
                  <a:pt x="1961024" y="1118029"/>
                  <a:pt x="1995769" y="1118029"/>
                </a:cubicBezTo>
                <a:cubicBezTo>
                  <a:pt x="2129979" y="1118029"/>
                  <a:pt x="2228352" y="1164363"/>
                  <a:pt x="2278696" y="1248189"/>
                </a:cubicBezTo>
                <a:lnTo>
                  <a:pt x="2278871" y="1248685"/>
                </a:lnTo>
                <a:lnTo>
                  <a:pt x="2279047" y="1248874"/>
                </a:lnTo>
                <a:lnTo>
                  <a:pt x="2312685" y="1344184"/>
                </a:lnTo>
                <a:lnTo>
                  <a:pt x="2312720" y="1344184"/>
                </a:lnTo>
                <a:cubicBezTo>
                  <a:pt x="2431681" y="1356717"/>
                  <a:pt x="2506149" y="1412803"/>
                  <a:pt x="2532511" y="1508271"/>
                </a:cubicBezTo>
                <a:lnTo>
                  <a:pt x="2532528" y="1508455"/>
                </a:lnTo>
                <a:lnTo>
                  <a:pt x="2532791" y="1508967"/>
                </a:lnTo>
                <a:cubicBezTo>
                  <a:pt x="2541578" y="1540790"/>
                  <a:pt x="2545021" y="1576988"/>
                  <a:pt x="2542984" y="1617408"/>
                </a:cubicBezTo>
                <a:cubicBezTo>
                  <a:pt x="2536787" y="1740581"/>
                  <a:pt x="2381028" y="1939092"/>
                  <a:pt x="2288769" y="2046460"/>
                </a:cubicBezTo>
                <a:lnTo>
                  <a:pt x="2287238" y="2048270"/>
                </a:lnTo>
                <a:lnTo>
                  <a:pt x="2199575" y="2048270"/>
                </a:lnTo>
                <a:lnTo>
                  <a:pt x="2200199" y="2047574"/>
                </a:lnTo>
                <a:lnTo>
                  <a:pt x="2199294" y="2047574"/>
                </a:lnTo>
                <a:lnTo>
                  <a:pt x="2207093" y="2038870"/>
                </a:lnTo>
                <a:cubicBezTo>
                  <a:pt x="2272683" y="1965760"/>
                  <a:pt x="2337090" y="1883877"/>
                  <a:pt x="2383741" y="1814317"/>
                </a:cubicBezTo>
                <a:cubicBezTo>
                  <a:pt x="2442438" y="1726864"/>
                  <a:pt x="2474607" y="1657374"/>
                  <a:pt x="2476834" y="1613369"/>
                </a:cubicBezTo>
                <a:lnTo>
                  <a:pt x="2468708" y="1525106"/>
                </a:lnTo>
                <a:lnTo>
                  <a:pt x="2434712" y="1462692"/>
                </a:lnTo>
                <a:cubicBezTo>
                  <a:pt x="2409646" y="1436233"/>
                  <a:pt x="2370653" y="1419174"/>
                  <a:pt x="2318918" y="1411933"/>
                </a:cubicBezTo>
                <a:lnTo>
                  <a:pt x="2318918" y="1414370"/>
                </a:lnTo>
                <a:cubicBezTo>
                  <a:pt x="2319198" y="1426833"/>
                  <a:pt x="2319476" y="1439645"/>
                  <a:pt x="2318223" y="1453501"/>
                </a:cubicBezTo>
                <a:cubicBezTo>
                  <a:pt x="2312721" y="1514914"/>
                  <a:pt x="2282711" y="1596171"/>
                  <a:pt x="2229028" y="1695113"/>
                </a:cubicBezTo>
                <a:cubicBezTo>
                  <a:pt x="2202918" y="1743296"/>
                  <a:pt x="2127579" y="1873990"/>
                  <a:pt x="1993892" y="2046251"/>
                </a:cubicBezTo>
                <a:lnTo>
                  <a:pt x="1992291" y="2048270"/>
                </a:lnTo>
                <a:lnTo>
                  <a:pt x="1908667" y="2048270"/>
                </a:lnTo>
                <a:lnTo>
                  <a:pt x="1909232" y="2047574"/>
                </a:lnTo>
                <a:lnTo>
                  <a:pt x="1908385" y="2047574"/>
                </a:lnTo>
                <a:lnTo>
                  <a:pt x="1915278" y="2039079"/>
                </a:lnTo>
                <a:cubicBezTo>
                  <a:pt x="1918481" y="2035180"/>
                  <a:pt x="2232020" y="1647139"/>
                  <a:pt x="2251864" y="1448209"/>
                </a:cubicBezTo>
                <a:cubicBezTo>
                  <a:pt x="2252247" y="1445772"/>
                  <a:pt x="2256704" y="1418008"/>
                  <a:pt x="2253065" y="1381400"/>
                </a:cubicBezTo>
                <a:lnTo>
                  <a:pt x="2240046" y="1322051"/>
                </a:lnTo>
                <a:lnTo>
                  <a:pt x="2206051" y="1262231"/>
                </a:lnTo>
                <a:cubicBezTo>
                  <a:pt x="2162603" y="1210845"/>
                  <a:pt x="2091999" y="1184804"/>
                  <a:pt x="1996259" y="1184804"/>
                </a:cubicBezTo>
                <a:cubicBezTo>
                  <a:pt x="1816269" y="1184804"/>
                  <a:pt x="1694140" y="1310693"/>
                  <a:pt x="1680354" y="1325593"/>
                </a:cubicBezTo>
                <a:lnTo>
                  <a:pt x="1680354" y="2048340"/>
                </a:lnTo>
                <a:lnTo>
                  <a:pt x="1614276" y="2048340"/>
                </a:lnTo>
                <a:lnTo>
                  <a:pt x="1614276" y="2047643"/>
                </a:lnTo>
                <a:lnTo>
                  <a:pt x="1613925" y="2047643"/>
                </a:lnTo>
                <a:lnTo>
                  <a:pt x="1613925" y="1325236"/>
                </a:lnTo>
                <a:lnTo>
                  <a:pt x="1604126" y="1315266"/>
                </a:lnTo>
                <a:cubicBezTo>
                  <a:pt x="1569053" y="1281188"/>
                  <a:pt x="1455862" y="1184804"/>
                  <a:pt x="1298370" y="1184804"/>
                </a:cubicBezTo>
                <a:cubicBezTo>
                  <a:pt x="1202561" y="1184804"/>
                  <a:pt x="1131957" y="1210915"/>
                  <a:pt x="1088509" y="1262301"/>
                </a:cubicBezTo>
                <a:cubicBezTo>
                  <a:pt x="1024520" y="1337987"/>
                  <a:pt x="1041579" y="1444032"/>
                  <a:pt x="1042345" y="1448488"/>
                </a:cubicBezTo>
                <a:cubicBezTo>
                  <a:pt x="1044834" y="1473415"/>
                  <a:pt x="1051912" y="1501289"/>
                  <a:pt x="1062400" y="1530990"/>
                </a:cubicBezTo>
                <a:lnTo>
                  <a:pt x="1102677" y="1623925"/>
                </a:lnTo>
                <a:lnTo>
                  <a:pt x="1156456" y="1721485"/>
                </a:lnTo>
                <a:cubicBezTo>
                  <a:pt x="1253454" y="1884177"/>
                  <a:pt x="1376691" y="2036642"/>
                  <a:pt x="1378649" y="2039079"/>
                </a:cubicBezTo>
                <a:lnTo>
                  <a:pt x="1385543" y="2047574"/>
                </a:lnTo>
                <a:lnTo>
                  <a:pt x="1385328" y="2047574"/>
                </a:lnTo>
                <a:lnTo>
                  <a:pt x="1385893" y="2048270"/>
                </a:lnTo>
                <a:lnTo>
                  <a:pt x="1302270" y="2048270"/>
                </a:lnTo>
                <a:lnTo>
                  <a:pt x="1300668" y="2046251"/>
                </a:lnTo>
                <a:cubicBezTo>
                  <a:pt x="1166911" y="1873990"/>
                  <a:pt x="1091642" y="1743296"/>
                  <a:pt x="1065462" y="1695113"/>
                </a:cubicBezTo>
                <a:lnTo>
                  <a:pt x="1065279" y="1694719"/>
                </a:lnTo>
                <a:lnTo>
                  <a:pt x="1065111" y="1694417"/>
                </a:lnTo>
                <a:cubicBezTo>
                  <a:pt x="1011427" y="1595474"/>
                  <a:pt x="981417" y="1514148"/>
                  <a:pt x="975986" y="1452805"/>
                </a:cubicBezTo>
                <a:cubicBezTo>
                  <a:pt x="974733" y="1438949"/>
                  <a:pt x="975011" y="1426137"/>
                  <a:pt x="975290" y="1413743"/>
                </a:cubicBezTo>
                <a:lnTo>
                  <a:pt x="975290" y="1412027"/>
                </a:lnTo>
                <a:lnTo>
                  <a:pt x="907683" y="1430106"/>
                </a:lnTo>
                <a:cubicBezTo>
                  <a:pt x="888326" y="1438583"/>
                  <a:pt x="872311" y="1449463"/>
                  <a:pt x="859778" y="1462692"/>
                </a:cubicBezTo>
                <a:cubicBezTo>
                  <a:pt x="828306" y="1495836"/>
                  <a:pt x="814102" y="1546804"/>
                  <a:pt x="817444" y="1614065"/>
                </a:cubicBezTo>
                <a:cubicBezTo>
                  <a:pt x="817984" y="1625067"/>
                  <a:pt x="820399" y="1637661"/>
                  <a:pt x="824636" y="1651730"/>
                </a:cubicBezTo>
                <a:lnTo>
                  <a:pt x="842712" y="1698137"/>
                </a:lnTo>
                <a:lnTo>
                  <a:pt x="871123" y="1752213"/>
                </a:lnTo>
                <a:cubicBezTo>
                  <a:pt x="882427" y="1771713"/>
                  <a:pt x="895443" y="1792454"/>
                  <a:pt x="910117" y="1814317"/>
                </a:cubicBezTo>
                <a:cubicBezTo>
                  <a:pt x="956838" y="1883877"/>
                  <a:pt x="1021175" y="1965760"/>
                  <a:pt x="1086765" y="2038870"/>
                </a:cubicBezTo>
                <a:lnTo>
                  <a:pt x="1094564" y="2047574"/>
                </a:lnTo>
                <a:lnTo>
                  <a:pt x="1094291" y="2047574"/>
                </a:lnTo>
                <a:lnTo>
                  <a:pt x="1094915" y="2048270"/>
                </a:lnTo>
                <a:lnTo>
                  <a:pt x="1007252" y="2048270"/>
                </a:lnTo>
                <a:lnTo>
                  <a:pt x="1005720" y="2046460"/>
                </a:lnTo>
                <a:cubicBezTo>
                  <a:pt x="936475" y="1965934"/>
                  <a:pt x="831587" y="1834140"/>
                  <a:pt x="780858" y="1721312"/>
                </a:cubicBezTo>
                <a:lnTo>
                  <a:pt x="780807" y="1721132"/>
                </a:lnTo>
                <a:lnTo>
                  <a:pt x="780517" y="1720616"/>
                </a:lnTo>
                <a:cubicBezTo>
                  <a:pt x="763601" y="1683006"/>
                  <a:pt x="752704" y="1647504"/>
                  <a:pt x="751155" y="1616711"/>
                </a:cubicBezTo>
                <a:cubicBezTo>
                  <a:pt x="743008" y="1455033"/>
                  <a:pt x="822524" y="1360895"/>
                  <a:pt x="981139" y="1344184"/>
                </a:cubicBezTo>
                <a:cubicBezTo>
                  <a:pt x="1003768" y="1200400"/>
                  <a:pt x="1119004" y="1118029"/>
                  <a:pt x="1297950" y="1118029"/>
                </a:cubicBezTo>
                <a:cubicBezTo>
                  <a:pt x="1367439" y="1118029"/>
                  <a:pt x="1436511" y="1134044"/>
                  <a:pt x="1503354" y="1165725"/>
                </a:cubicBezTo>
                <a:cubicBezTo>
                  <a:pt x="1496531" y="1088716"/>
                  <a:pt x="1552164" y="1030297"/>
                  <a:pt x="1613855" y="1015675"/>
                </a:cubicBezTo>
                <a:lnTo>
                  <a:pt x="1613855" y="928918"/>
                </a:lnTo>
                <a:cubicBezTo>
                  <a:pt x="1613855" y="910675"/>
                  <a:pt x="1628686" y="895844"/>
                  <a:pt x="1646859" y="895844"/>
                </a:cubicBezTo>
                <a:close/>
                <a:moveTo>
                  <a:pt x="1730345" y="812080"/>
                </a:moveTo>
                <a:lnTo>
                  <a:pt x="1841820" y="812080"/>
                </a:lnTo>
                <a:cubicBezTo>
                  <a:pt x="1850941" y="812080"/>
                  <a:pt x="1859210" y="815788"/>
                  <a:pt x="1865198" y="821776"/>
                </a:cubicBezTo>
                <a:lnTo>
                  <a:pt x="1865474" y="822442"/>
                </a:lnTo>
                <a:lnTo>
                  <a:pt x="1865548" y="822473"/>
                </a:lnTo>
                <a:cubicBezTo>
                  <a:pt x="1871536" y="828461"/>
                  <a:pt x="1875244" y="836729"/>
                  <a:pt x="1875244" y="845851"/>
                </a:cubicBezTo>
                <a:cubicBezTo>
                  <a:pt x="1875244" y="864093"/>
                  <a:pt x="1860413" y="878924"/>
                  <a:pt x="1842170" y="878924"/>
                </a:cubicBezTo>
                <a:lnTo>
                  <a:pt x="1730695" y="878924"/>
                </a:lnTo>
                <a:cubicBezTo>
                  <a:pt x="1721573" y="878924"/>
                  <a:pt x="1713305" y="875216"/>
                  <a:pt x="1707317" y="869228"/>
                </a:cubicBezTo>
                <a:lnTo>
                  <a:pt x="1707041" y="868562"/>
                </a:lnTo>
                <a:lnTo>
                  <a:pt x="1706966" y="868531"/>
                </a:lnTo>
                <a:cubicBezTo>
                  <a:pt x="1700979" y="862543"/>
                  <a:pt x="1697271" y="854275"/>
                  <a:pt x="1697271" y="845154"/>
                </a:cubicBezTo>
                <a:cubicBezTo>
                  <a:pt x="1697271" y="826911"/>
                  <a:pt x="1712102" y="812080"/>
                  <a:pt x="1730345" y="812080"/>
                </a:cubicBezTo>
                <a:close/>
                <a:moveTo>
                  <a:pt x="1451969" y="812080"/>
                </a:moveTo>
                <a:lnTo>
                  <a:pt x="1563444" y="812080"/>
                </a:lnTo>
                <a:cubicBezTo>
                  <a:pt x="1572565" y="812080"/>
                  <a:pt x="1580834" y="815788"/>
                  <a:pt x="1586822" y="821776"/>
                </a:cubicBezTo>
                <a:lnTo>
                  <a:pt x="1587098" y="822442"/>
                </a:lnTo>
                <a:lnTo>
                  <a:pt x="1587172" y="822473"/>
                </a:lnTo>
                <a:cubicBezTo>
                  <a:pt x="1593161" y="828461"/>
                  <a:pt x="1596868" y="836729"/>
                  <a:pt x="1596868" y="845851"/>
                </a:cubicBezTo>
                <a:cubicBezTo>
                  <a:pt x="1596868" y="864093"/>
                  <a:pt x="1582037" y="878924"/>
                  <a:pt x="1563794" y="878924"/>
                </a:cubicBezTo>
                <a:lnTo>
                  <a:pt x="1452319" y="878924"/>
                </a:lnTo>
                <a:cubicBezTo>
                  <a:pt x="1443198" y="878924"/>
                  <a:pt x="1434929" y="875216"/>
                  <a:pt x="1428941" y="869228"/>
                </a:cubicBezTo>
                <a:lnTo>
                  <a:pt x="1428665" y="868562"/>
                </a:lnTo>
                <a:lnTo>
                  <a:pt x="1428591" y="868531"/>
                </a:lnTo>
                <a:cubicBezTo>
                  <a:pt x="1422602" y="862543"/>
                  <a:pt x="1418895" y="854275"/>
                  <a:pt x="1418895" y="845154"/>
                </a:cubicBezTo>
                <a:cubicBezTo>
                  <a:pt x="1418895" y="826911"/>
                  <a:pt x="1433726" y="812080"/>
                  <a:pt x="1451969" y="812080"/>
                </a:cubicBezTo>
                <a:close/>
                <a:moveTo>
                  <a:pt x="1646860" y="616911"/>
                </a:moveTo>
                <a:cubicBezTo>
                  <a:pt x="1655981" y="616911"/>
                  <a:pt x="1664249" y="620619"/>
                  <a:pt x="1670237" y="626607"/>
                </a:cubicBezTo>
                <a:lnTo>
                  <a:pt x="1670513" y="627272"/>
                </a:lnTo>
                <a:lnTo>
                  <a:pt x="1670588" y="627303"/>
                </a:lnTo>
                <a:cubicBezTo>
                  <a:pt x="1676575" y="633291"/>
                  <a:pt x="1680283" y="641559"/>
                  <a:pt x="1680283" y="650681"/>
                </a:cubicBezTo>
                <a:lnTo>
                  <a:pt x="1680283" y="762017"/>
                </a:lnTo>
                <a:cubicBezTo>
                  <a:pt x="1680283" y="780260"/>
                  <a:pt x="1665452" y="795091"/>
                  <a:pt x="1647210" y="795091"/>
                </a:cubicBezTo>
                <a:cubicBezTo>
                  <a:pt x="1638089" y="795091"/>
                  <a:pt x="1629820" y="791383"/>
                  <a:pt x="1623832" y="785395"/>
                </a:cubicBezTo>
                <a:lnTo>
                  <a:pt x="1623556" y="784730"/>
                </a:lnTo>
                <a:lnTo>
                  <a:pt x="1623482" y="784699"/>
                </a:lnTo>
                <a:cubicBezTo>
                  <a:pt x="1617494" y="778711"/>
                  <a:pt x="1613786" y="770442"/>
                  <a:pt x="1613786" y="761321"/>
                </a:cubicBezTo>
                <a:lnTo>
                  <a:pt x="1613786" y="649985"/>
                </a:lnTo>
                <a:cubicBezTo>
                  <a:pt x="1613786" y="631742"/>
                  <a:pt x="1628617" y="616911"/>
                  <a:pt x="1646860" y="616911"/>
                </a:cubicBezTo>
                <a:close/>
                <a:moveTo>
                  <a:pt x="1646860" y="83555"/>
                </a:moveTo>
                <a:cubicBezTo>
                  <a:pt x="1229296" y="83555"/>
                  <a:pt x="836729" y="246138"/>
                  <a:pt x="541433" y="541433"/>
                </a:cubicBezTo>
                <a:cubicBezTo>
                  <a:pt x="246138" y="836729"/>
                  <a:pt x="83555" y="1229296"/>
                  <a:pt x="83555" y="1646930"/>
                </a:cubicBezTo>
                <a:cubicBezTo>
                  <a:pt x="83555" y="2064563"/>
                  <a:pt x="246138" y="2457061"/>
                  <a:pt x="541433" y="2752356"/>
                </a:cubicBezTo>
                <a:cubicBezTo>
                  <a:pt x="836729" y="3047582"/>
                  <a:pt x="1229296" y="3210235"/>
                  <a:pt x="1646860" y="3210235"/>
                </a:cubicBezTo>
                <a:cubicBezTo>
                  <a:pt x="2064424" y="3210235"/>
                  <a:pt x="2456992" y="3047652"/>
                  <a:pt x="2752287" y="2752356"/>
                </a:cubicBezTo>
                <a:cubicBezTo>
                  <a:pt x="3047583" y="2457061"/>
                  <a:pt x="3210166" y="2064494"/>
                  <a:pt x="3210166" y="1646930"/>
                </a:cubicBezTo>
                <a:cubicBezTo>
                  <a:pt x="3210166" y="1229366"/>
                  <a:pt x="3047583" y="836729"/>
                  <a:pt x="2752287" y="541503"/>
                </a:cubicBezTo>
                <a:cubicBezTo>
                  <a:pt x="2456992" y="246277"/>
                  <a:pt x="2064424" y="83555"/>
                  <a:pt x="1646860" y="83555"/>
                </a:cubicBezTo>
                <a:close/>
                <a:moveTo>
                  <a:pt x="1646860" y="0"/>
                </a:moveTo>
                <a:cubicBezTo>
                  <a:pt x="2086775" y="0"/>
                  <a:pt x="2500300" y="171287"/>
                  <a:pt x="2811332" y="482388"/>
                </a:cubicBezTo>
                <a:cubicBezTo>
                  <a:pt x="3122365" y="793490"/>
                  <a:pt x="3293721" y="1207015"/>
                  <a:pt x="3293721" y="1646930"/>
                </a:cubicBezTo>
                <a:cubicBezTo>
                  <a:pt x="3293721" y="2086844"/>
                  <a:pt x="3122433" y="2500370"/>
                  <a:pt x="2811332" y="2811471"/>
                </a:cubicBezTo>
                <a:cubicBezTo>
                  <a:pt x="2500300" y="3122503"/>
                  <a:pt x="2086705" y="3293790"/>
                  <a:pt x="1646860" y="3293790"/>
                </a:cubicBezTo>
                <a:lnTo>
                  <a:pt x="1646860" y="3293720"/>
                </a:lnTo>
                <a:cubicBezTo>
                  <a:pt x="1206945" y="3293720"/>
                  <a:pt x="793420" y="3122433"/>
                  <a:pt x="482319" y="2811402"/>
                </a:cubicBezTo>
                <a:cubicBezTo>
                  <a:pt x="171287" y="2500370"/>
                  <a:pt x="0" y="2086775"/>
                  <a:pt x="0" y="1646930"/>
                </a:cubicBezTo>
                <a:cubicBezTo>
                  <a:pt x="0" y="1207085"/>
                  <a:pt x="171287" y="793420"/>
                  <a:pt x="482388" y="482388"/>
                </a:cubicBezTo>
                <a:cubicBezTo>
                  <a:pt x="793420" y="171356"/>
                  <a:pt x="1206945" y="0"/>
                  <a:pt x="1646860" y="0"/>
                </a:cubicBezTo>
                <a:close/>
              </a:path>
            </a:pathLst>
          </a:custGeom>
          <a:solidFill>
            <a:srgbClr val="FFFFFF"/>
          </a:solidFill>
          <a:ln w="0" cap="flat">
            <a:noFill/>
            <a:prstDash val="solid"/>
            <a:miter/>
          </a:ln>
        </p:spPr>
        <p:txBody>
          <a:bodyPr rtlCol="0" anchor="ctr"/>
          <a:lstStyle/>
          <a:p>
            <a:endParaRPr lang="da-DK" sz="1200" dirty="0"/>
          </a:p>
        </p:txBody>
      </p:sp>
    </p:spTree>
    <p:extLst>
      <p:ext uri="{BB962C8B-B14F-4D97-AF65-F5344CB8AC3E}">
        <p14:creationId xmlns:p14="http://schemas.microsoft.com/office/powerpoint/2010/main" val="303808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D7F62-6324-4937-939F-C99783064CA3}"/>
              </a:ext>
            </a:extLst>
          </p:cNvPr>
          <p:cNvSpPr>
            <a:spLocks noGrp="1"/>
          </p:cNvSpPr>
          <p:nvPr>
            <p:ph type="title" hasCustomPrompt="1"/>
          </p:nvPr>
        </p:nvSpPr>
        <p:spPr>
          <a:xfrm>
            <a:off x="417251" y="205979"/>
            <a:ext cx="8313603" cy="857250"/>
          </a:xfrm>
          <a:effectLst/>
        </p:spPr>
        <p:txBody>
          <a:bodyPr vert="horz" wrap="square" anchor="b">
            <a:noAutofit/>
          </a:bodyPr>
          <a:lstStyle>
            <a:lvl1pPr algn="l">
              <a:defRPr sz="2400" b="0" i="0" u="none" strike="noStrike">
                <a:solidFill>
                  <a:schemeClr val="tx1">
                    <a:lumMod val="100000"/>
                  </a:schemeClr>
                </a:solidFill>
                <a:latin typeface="Arial" panose="020B0604020202020204" pitchFamily="34" charset="0"/>
              </a:defRPr>
            </a:lvl1pPr>
          </a:lstStyle>
          <a:p>
            <a:r>
              <a:rPr lang="da-DK" dirty="0"/>
              <a:t>Skriv en overskrift her</a:t>
            </a:r>
          </a:p>
        </p:txBody>
      </p:sp>
      <p:sp>
        <p:nvSpPr>
          <p:cNvPr id="6" name="Date Placeholder 5">
            <a:extLst>
              <a:ext uri="{FF2B5EF4-FFF2-40B4-BE49-F238E27FC236}">
                <a16:creationId xmlns:a16="http://schemas.microsoft.com/office/drawing/2014/main" id="{4020E522-393B-5212-56B0-9E5B2F88FDF5}"/>
              </a:ext>
            </a:extLst>
          </p:cNvPr>
          <p:cNvSpPr>
            <a:spLocks noGrp="1"/>
          </p:cNvSpPr>
          <p:nvPr>
            <p:ph type="dt" sz="half" idx="10"/>
          </p:nvPr>
        </p:nvSpPr>
        <p:spPr/>
        <p:txBody>
          <a:bodyPr/>
          <a:lstStyle/>
          <a:p>
            <a:fld id="{59A5BE0A-64CB-4689-9999-671D8AE44C12}" type="datetime2">
              <a:rPr lang="da-DK" smtClean="0"/>
              <a:t>17. september 2025</a:t>
            </a:fld>
            <a:r>
              <a:rPr lang="da-DK" dirty="0"/>
              <a:t> </a:t>
            </a:r>
          </a:p>
        </p:txBody>
      </p:sp>
      <p:sp>
        <p:nvSpPr>
          <p:cNvPr id="8" name="Footer Placeholder 7">
            <a:extLst>
              <a:ext uri="{FF2B5EF4-FFF2-40B4-BE49-F238E27FC236}">
                <a16:creationId xmlns:a16="http://schemas.microsoft.com/office/drawing/2014/main" id="{5C9499CD-4E61-CC4A-8206-E6C4B641A994}"/>
              </a:ext>
            </a:extLst>
          </p:cNvPr>
          <p:cNvSpPr>
            <a:spLocks noGrp="1"/>
          </p:cNvSpPr>
          <p:nvPr>
            <p:ph type="ftr" sz="quarter" idx="11"/>
          </p:nvPr>
        </p:nvSpPr>
        <p:spPr/>
        <p:txBody>
          <a:bodyPr/>
          <a:lstStyle/>
          <a:p>
            <a:r>
              <a:rPr lang="da-DK" dirty="0"/>
              <a:t>Klimadatastyrelsen </a:t>
            </a:r>
          </a:p>
        </p:txBody>
      </p:sp>
      <p:sp>
        <p:nvSpPr>
          <p:cNvPr id="9" name="Slide Number Placeholder 8">
            <a:extLst>
              <a:ext uri="{FF2B5EF4-FFF2-40B4-BE49-F238E27FC236}">
                <a16:creationId xmlns:a16="http://schemas.microsoft.com/office/drawing/2014/main" id="{0B233690-2F56-C7EC-F73D-EC9030A88B06}"/>
              </a:ext>
            </a:extLst>
          </p:cNvPr>
          <p:cNvSpPr>
            <a:spLocks noGrp="1"/>
          </p:cNvSpPr>
          <p:nvPr>
            <p:ph type="sldNum" sz="quarter" idx="12"/>
          </p:nvPr>
        </p:nvSpPr>
        <p:spPr/>
        <p:txBody>
          <a:bodyPr/>
          <a:lstStyle/>
          <a:p>
            <a:fld id="{27069E6C-1A00-4921-95F4-578604732DF4}" type="slidenum">
              <a:rPr lang="da-DK" smtClean="0"/>
              <a:pPr/>
              <a:t>‹nr.›</a:t>
            </a:fld>
            <a:endParaRPr lang="da-DK" dirty="0"/>
          </a:p>
        </p:txBody>
      </p:sp>
    </p:spTree>
    <p:extLst>
      <p:ext uri="{BB962C8B-B14F-4D97-AF65-F5344CB8AC3E}">
        <p14:creationId xmlns:p14="http://schemas.microsoft.com/office/powerpoint/2010/main" val="35317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m">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46156A-D60F-2870-8C6D-3DFFDEFA47FE}"/>
              </a:ext>
            </a:extLst>
          </p:cNvPr>
          <p:cNvSpPr>
            <a:spLocks noGrp="1"/>
          </p:cNvSpPr>
          <p:nvPr>
            <p:ph type="dt" sz="half" idx="10"/>
          </p:nvPr>
        </p:nvSpPr>
        <p:spPr/>
        <p:txBody>
          <a:bodyPr/>
          <a:lstStyle/>
          <a:p>
            <a:fld id="{26044DAA-B63D-4FC3-99E0-1A013F840F23}" type="datetime2">
              <a:rPr lang="da-DK" smtClean="0"/>
              <a:t>17. september 2025</a:t>
            </a:fld>
            <a:r>
              <a:rPr lang="da-DK" dirty="0"/>
              <a:t> </a:t>
            </a:r>
          </a:p>
        </p:txBody>
      </p:sp>
      <p:sp>
        <p:nvSpPr>
          <p:cNvPr id="3" name="Footer Placeholder 2">
            <a:extLst>
              <a:ext uri="{FF2B5EF4-FFF2-40B4-BE49-F238E27FC236}">
                <a16:creationId xmlns:a16="http://schemas.microsoft.com/office/drawing/2014/main" id="{1932E633-E46B-AE10-7721-018FC9CC17F1}"/>
              </a:ext>
            </a:extLst>
          </p:cNvPr>
          <p:cNvSpPr>
            <a:spLocks noGrp="1"/>
          </p:cNvSpPr>
          <p:nvPr>
            <p:ph type="ftr" sz="quarter" idx="11"/>
          </p:nvPr>
        </p:nvSpPr>
        <p:spPr/>
        <p:txBody>
          <a:bodyPr/>
          <a:lstStyle/>
          <a:p>
            <a:r>
              <a:rPr lang="da-DK" dirty="0"/>
              <a:t>Klimadatastyrelsen </a:t>
            </a:r>
          </a:p>
        </p:txBody>
      </p:sp>
      <p:sp>
        <p:nvSpPr>
          <p:cNvPr id="4" name="Slide Number Placeholder 3">
            <a:extLst>
              <a:ext uri="{FF2B5EF4-FFF2-40B4-BE49-F238E27FC236}">
                <a16:creationId xmlns:a16="http://schemas.microsoft.com/office/drawing/2014/main" id="{E129C27C-7AAF-0C07-2F13-520A10C5378C}"/>
              </a:ext>
            </a:extLst>
          </p:cNvPr>
          <p:cNvSpPr>
            <a:spLocks noGrp="1"/>
          </p:cNvSpPr>
          <p:nvPr>
            <p:ph type="sldNum" sz="quarter" idx="12"/>
          </p:nvPr>
        </p:nvSpPr>
        <p:spPr/>
        <p:txBody>
          <a:bodyPr/>
          <a:lstStyle/>
          <a:p>
            <a:fld id="{27069E6C-1A00-4921-95F4-578604732DF4}" type="slidenum">
              <a:rPr lang="da-DK" smtClean="0"/>
              <a:pPr/>
              <a:t>‹nr.›</a:t>
            </a:fld>
            <a:endParaRPr lang="da-DK" dirty="0"/>
          </a:p>
        </p:txBody>
      </p:sp>
    </p:spTree>
    <p:extLst>
      <p:ext uri="{BB962C8B-B14F-4D97-AF65-F5344CB8AC3E}">
        <p14:creationId xmlns:p14="http://schemas.microsoft.com/office/powerpoint/2010/main" val="382718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rugerguide">
    <p:bg>
      <p:bgPr>
        <a:solidFill>
          <a:schemeClr val="bg1"/>
        </a:solidFill>
        <a:effectLst/>
      </p:bgPr>
    </p:bg>
    <p:spTree>
      <p:nvGrpSpPr>
        <p:cNvPr id="1" name=""/>
        <p:cNvGrpSpPr/>
        <p:nvPr/>
      </p:nvGrpSpPr>
      <p:grpSpPr>
        <a:xfrm>
          <a:off x="0" y="0"/>
          <a:ext cx="0" cy="0"/>
          <a:chOff x="0" y="0"/>
          <a:chExt cx="0" cy="0"/>
        </a:xfrm>
      </p:grpSpPr>
      <p:sp>
        <p:nvSpPr>
          <p:cNvPr id="2" name="Title 1"/>
          <p:cNvSpPr txBox="1">
            <a:spLocks/>
          </p:cNvSpPr>
          <p:nvPr userDrawn="1"/>
        </p:nvSpPr>
        <p:spPr>
          <a:xfrm>
            <a:off x="404244" y="366108"/>
            <a:ext cx="8326610" cy="418592"/>
          </a:xfrm>
          <a:prstGeom prst="rect">
            <a:avLst/>
          </a:prstGeom>
        </p:spPr>
        <p:txBody>
          <a:bodyPr vert="horz" lIns="0" tIns="0" rIns="0" bIns="0" rtlCol="0" anchor="t" anchorCtr="0">
            <a:noAutofit/>
          </a:bodyPr>
          <a:lstStyle>
            <a:lvl1pPr>
              <a:lnSpc>
                <a:spcPct val="100000"/>
              </a:lnSpc>
              <a:spcBef>
                <a:spcPct val="0"/>
              </a:spcBef>
              <a:buNone/>
              <a:defRPr sz="3200">
                <a:solidFill>
                  <a:schemeClr val="bg1"/>
                </a:solidFill>
                <a:latin typeface="+mj-lt"/>
                <a:ea typeface="+mj-ea"/>
                <a:cs typeface="+mj-cs"/>
              </a:defRPr>
            </a:lvl1pPr>
          </a:lstStyle>
          <a:p>
            <a:pPr lvl="0"/>
            <a:r>
              <a:rPr lang="da-DK" sz="2250" dirty="0">
                <a:solidFill>
                  <a:schemeClr val="tx1"/>
                </a:solidFill>
                <a:latin typeface="Arial" panose="020B0604020202020204" pitchFamily="34" charset="0"/>
                <a:cs typeface="Arial" panose="020B0604020202020204" pitchFamily="34" charset="0"/>
              </a:rPr>
              <a:t>Brugerguide</a:t>
            </a:r>
            <a:r>
              <a:rPr lang="da-DK" sz="2400" baseline="0" dirty="0">
                <a:solidFill>
                  <a:schemeClr val="tx1"/>
                </a:solidFill>
                <a:latin typeface="Arial" panose="020B0604020202020204" pitchFamily="34" charset="0"/>
                <a:cs typeface="Arial" panose="020B0604020202020204" pitchFamily="34" charset="0"/>
              </a:rPr>
              <a:t> </a:t>
            </a:r>
            <a:r>
              <a:rPr lang="da-DK" sz="1350" baseline="0" dirty="0">
                <a:solidFill>
                  <a:schemeClr val="tx1"/>
                </a:solidFill>
                <a:latin typeface="Arial" panose="020B0604020202020204" pitchFamily="34" charset="0"/>
                <a:cs typeface="Arial" panose="020B0604020202020204" pitchFamily="34" charset="0"/>
              </a:rPr>
              <a:t>– </a:t>
            </a:r>
            <a:r>
              <a:rPr lang="da-DK" sz="1350" dirty="0">
                <a:solidFill>
                  <a:schemeClr val="tx1"/>
                </a:solidFill>
                <a:latin typeface="Arial" panose="020B0604020202020204" pitchFamily="34" charset="0"/>
                <a:cs typeface="Arial" panose="020B0604020202020204" pitchFamily="34" charset="0"/>
              </a:rPr>
              <a:t>Slet denne og øvrige slides du ikke skal bruge, før du færdiggør din</a:t>
            </a:r>
            <a:r>
              <a:rPr lang="da-DK" sz="1350" baseline="0" dirty="0">
                <a:solidFill>
                  <a:schemeClr val="tx1"/>
                </a:solidFill>
                <a:latin typeface="Arial" panose="020B0604020202020204" pitchFamily="34" charset="0"/>
                <a:cs typeface="Arial" panose="020B0604020202020204" pitchFamily="34" charset="0"/>
              </a:rPr>
              <a:t> </a:t>
            </a:r>
            <a:r>
              <a:rPr lang="da-DK" sz="1350" dirty="0">
                <a:solidFill>
                  <a:schemeClr val="tx1"/>
                </a:solidFill>
                <a:latin typeface="Arial" panose="020B0604020202020204" pitchFamily="34" charset="0"/>
                <a:cs typeface="Arial" panose="020B0604020202020204" pitchFamily="34" charset="0"/>
              </a:rPr>
              <a:t>præsentation</a:t>
            </a:r>
          </a:p>
        </p:txBody>
      </p:sp>
      <p:grpSp>
        <p:nvGrpSpPr>
          <p:cNvPr id="4" name="Group 3">
            <a:extLst>
              <a:ext uri="{FF2B5EF4-FFF2-40B4-BE49-F238E27FC236}">
                <a16:creationId xmlns:a16="http://schemas.microsoft.com/office/drawing/2014/main" id="{E24B192B-2F13-8073-B1DD-79B57BCD4CDF}"/>
              </a:ext>
            </a:extLst>
          </p:cNvPr>
          <p:cNvGrpSpPr>
            <a:grpSpLocks/>
          </p:cNvGrpSpPr>
          <p:nvPr userDrawn="1"/>
        </p:nvGrpSpPr>
        <p:grpSpPr>
          <a:xfrm>
            <a:off x="5503655" y="938416"/>
            <a:ext cx="1411023" cy="2706835"/>
            <a:chOff x="7155269" y="1251221"/>
            <a:chExt cx="1881364" cy="3609114"/>
          </a:xfrm>
        </p:grpSpPr>
        <p:sp>
          <p:nvSpPr>
            <p:cNvPr id="12" name="Text Box 48"/>
            <p:cNvSpPr txBox="1">
              <a:spLocks noChangeArrowheads="1"/>
            </p:cNvSpPr>
            <p:nvPr userDrawn="1"/>
          </p:nvSpPr>
          <p:spPr bwMode="auto">
            <a:xfrm>
              <a:off x="7155269" y="1320904"/>
              <a:ext cx="1881364" cy="3539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450"/>
                </a:spcAft>
                <a:defRPr/>
              </a:pPr>
              <a:r>
                <a:rPr lang="da-DK" sz="750" b="1" noProof="1">
                  <a:solidFill>
                    <a:schemeClr val="tx1"/>
                  </a:solidFill>
                  <a:latin typeface="+mn-lt"/>
                  <a:cs typeface="Arial" panose="020B0604020202020204" pitchFamily="34" charset="0"/>
                </a:rPr>
                <a:t>Beskær billede</a:t>
              </a:r>
            </a:p>
            <a:p>
              <a:pPr eaLnBrk="1" hangingPunct="1">
                <a:lnSpc>
                  <a:spcPct val="100000"/>
                </a:lnSpc>
                <a:spcAft>
                  <a:spcPts val="450"/>
                </a:spcAft>
                <a:defRPr/>
              </a:pPr>
              <a:r>
                <a:rPr lang="da-DK" sz="600" b="1" noProof="1">
                  <a:solidFill>
                    <a:schemeClr val="tx1"/>
                  </a:solidFill>
                  <a:latin typeface="+mn-lt"/>
                  <a:cs typeface="Arial" panose="020B0604020202020204" pitchFamily="34" charset="0"/>
                </a:rPr>
                <a:t>1</a:t>
              </a:r>
              <a:r>
                <a:rPr lang="da-DK" sz="600" b="0" noProof="1">
                  <a:solidFill>
                    <a:schemeClr val="tx1"/>
                  </a:solidFill>
                  <a:latin typeface="+mn-lt"/>
                  <a:cs typeface="Arial" panose="020B0604020202020204" pitchFamily="34" charset="0"/>
                </a:rPr>
                <a:t>. Klik </a:t>
              </a:r>
              <a:r>
                <a:rPr lang="da-DK" sz="600" b="1" noProof="1">
                  <a:solidFill>
                    <a:schemeClr val="tx1"/>
                  </a:solidFill>
                  <a:latin typeface="+mn-lt"/>
                  <a:cs typeface="Arial" panose="020B0604020202020204" pitchFamily="34" charset="0"/>
                </a:rPr>
                <a:t>Beskær</a:t>
              </a:r>
              <a:r>
                <a:rPr lang="da-DK" sz="600" b="0" noProof="1">
                  <a:solidFill>
                    <a:schemeClr val="tx1"/>
                  </a:solidFill>
                  <a:latin typeface="+mn-lt"/>
                  <a:cs typeface="Arial" panose="020B0604020202020204" pitchFamily="34" charset="0"/>
                </a:rPr>
                <a:t> for at ændre billedets fokus/størrelse</a:t>
              </a:r>
            </a:p>
            <a:p>
              <a:pPr eaLnBrk="1" hangingPunct="1">
                <a:lnSpc>
                  <a:spcPct val="100000"/>
                </a:lnSpc>
                <a:spcAft>
                  <a:spcPts val="450"/>
                </a:spcAft>
                <a:defRPr/>
              </a:pPr>
              <a:r>
                <a:rPr lang="da-DK" sz="600" b="1" noProof="1">
                  <a:solidFill>
                    <a:schemeClr val="tx1"/>
                  </a:solidFill>
                  <a:latin typeface="+mn-lt"/>
                  <a:cs typeface="Arial" panose="020B0604020202020204" pitchFamily="34" charset="0"/>
                </a:rPr>
                <a:t>2. </a:t>
              </a:r>
              <a:r>
                <a:rPr lang="da-DK" sz="600" b="0" noProof="1">
                  <a:solidFill>
                    <a:schemeClr val="tx1"/>
                  </a:solidFill>
                  <a:latin typeface="+mn-lt"/>
                  <a:cs typeface="Arial" panose="020B0604020202020204" pitchFamily="34" charset="0"/>
                </a:rPr>
                <a:t>Ønsker du at skalere billedet, så hold </a:t>
              </a:r>
              <a:r>
                <a:rPr lang="da-DK" sz="600" b="1" noProof="1">
                  <a:solidFill>
                    <a:schemeClr val="tx1"/>
                  </a:solidFill>
                  <a:latin typeface="+mn-lt"/>
                  <a:cs typeface="Arial" panose="020B0604020202020204" pitchFamily="34" charset="0"/>
                </a:rPr>
                <a:t>SHIFT</a:t>
              </a:r>
              <a:r>
                <a:rPr lang="da-DK" sz="600" b="0" noProof="1">
                  <a:solidFill>
                    <a:schemeClr val="tx1"/>
                  </a:solidFill>
                  <a:latin typeface="+mn-lt"/>
                  <a:cs typeface="Arial" panose="020B0604020202020204" pitchFamily="34" charset="0"/>
                </a:rPr>
                <a:t>-knappen nede, mens du trækker i billedets hjørner</a:t>
              </a:r>
            </a:p>
            <a:p>
              <a:pPr eaLnBrk="1" hangingPunct="1">
                <a:lnSpc>
                  <a:spcPct val="100000"/>
                </a:lnSpc>
                <a:spcAft>
                  <a:spcPts val="450"/>
                </a:spcAft>
                <a:defRPr/>
              </a:pPr>
              <a:r>
                <a:rPr lang="da-DK" sz="600" b="1" kern="1200" noProof="1">
                  <a:solidFill>
                    <a:schemeClr val="tx1"/>
                  </a:solidFill>
                  <a:latin typeface="Arial" charset="0"/>
                  <a:ea typeface="+mn-ea"/>
                  <a:cs typeface="Arial" panose="020B0604020202020204" pitchFamily="34" charset="0"/>
                </a:rPr>
                <a:t>Tip: </a:t>
              </a:r>
              <a:r>
                <a:rPr lang="da-DK" sz="600" b="0" kern="1200" noProof="1">
                  <a:solidFill>
                    <a:schemeClr val="tx1"/>
                  </a:solidFill>
                  <a:latin typeface="Arial" charset="0"/>
                  <a:ea typeface="+mn-ea"/>
                  <a:cs typeface="Arial" panose="020B0604020202020204" pitchFamily="34" charset="0"/>
                </a:rPr>
                <a:t>Hvis billedet ligger foran tekst og grafik, skal du højreklikke og vælge </a:t>
              </a:r>
              <a:r>
                <a:rPr lang="da-DK" sz="600" b="1" kern="1200" noProof="1">
                  <a:solidFill>
                    <a:schemeClr val="tx1"/>
                  </a:solidFill>
                  <a:latin typeface="Arial" charset="0"/>
                  <a:ea typeface="+mn-ea"/>
                  <a:cs typeface="Arial" panose="020B0604020202020204" pitchFamily="34" charset="0"/>
                </a:rPr>
                <a:t>Placer bagerst</a:t>
              </a:r>
            </a:p>
            <a:p>
              <a:pPr eaLnBrk="1" hangingPunct="1">
                <a:lnSpc>
                  <a:spcPct val="100000"/>
                </a:lnSpc>
                <a:spcAft>
                  <a:spcPts val="450"/>
                </a:spcAft>
                <a:defRPr/>
              </a:pPr>
              <a:endParaRPr lang="da-DK" sz="600" b="1" kern="1200" noProof="1">
                <a:solidFill>
                  <a:schemeClr val="tx1"/>
                </a:solidFill>
                <a:latin typeface="Arial" charset="0"/>
                <a:ea typeface="+mn-ea"/>
                <a:cs typeface="Arial" panose="020B0604020202020204" pitchFamily="34" charset="0"/>
              </a:endParaRPr>
            </a:p>
            <a:p>
              <a:pPr eaLnBrk="1" hangingPunct="1">
                <a:lnSpc>
                  <a:spcPct val="100000"/>
                </a:lnSpc>
                <a:spcAft>
                  <a:spcPts val="450"/>
                </a:spcAft>
                <a:defRPr/>
              </a:pPr>
              <a:r>
                <a:rPr lang="da-DK" sz="750" b="1" kern="1200" noProof="1">
                  <a:solidFill>
                    <a:schemeClr val="tx1"/>
                  </a:solidFill>
                  <a:latin typeface="Arial" charset="0"/>
                  <a:ea typeface="+mn-ea"/>
                  <a:cs typeface="Arial" panose="020B0604020202020204" pitchFamily="34" charset="0"/>
                </a:rPr>
                <a:t>Eksportér til PDF</a:t>
              </a:r>
            </a:p>
            <a:p>
              <a:pPr marL="0" marR="0" lvl="0" indent="0" algn="l" defTabSz="818672" rtl="0" eaLnBrk="1" fontAlgn="auto" latinLnBrk="0" hangingPunct="1">
                <a:lnSpc>
                  <a:spcPct val="100000"/>
                </a:lnSpc>
                <a:spcBef>
                  <a:spcPts val="0"/>
                </a:spcBef>
                <a:spcAft>
                  <a:spcPts val="450"/>
                </a:spcAft>
                <a:buClrTx/>
                <a:buSzTx/>
                <a:buFontTx/>
                <a:buNone/>
                <a:tabLst/>
                <a:defRPr/>
              </a:pPr>
              <a:r>
                <a:rPr lang="da-DK" sz="600" b="0" kern="1200" baseline="0" noProof="1">
                  <a:solidFill>
                    <a:schemeClr val="tx1"/>
                  </a:solidFill>
                  <a:latin typeface="Arial" charset="0"/>
                  <a:ea typeface="+mn-ea"/>
                  <a:cs typeface="Arial" panose="020B0604020202020204" pitchFamily="34" charset="0"/>
                </a:rPr>
                <a:t>Hvis filstørrelsen på din eksporterede PowerPoint bliver meget stor – for eksempel på grund af mange højkvalitetsbilleder – kan du komprimere, når du gemmer præsentationen: </a:t>
              </a:r>
            </a:p>
            <a:p>
              <a:pPr marL="0" marR="0" lvl="0" indent="0" algn="l" defTabSz="818672" rtl="0" eaLnBrk="1" fontAlgn="auto" latinLnBrk="0" hangingPunct="1">
                <a:lnSpc>
                  <a:spcPct val="100000"/>
                </a:lnSpc>
                <a:spcBef>
                  <a:spcPts val="0"/>
                </a:spcBef>
                <a:spcAft>
                  <a:spcPts val="450"/>
                </a:spcAft>
                <a:buClrTx/>
                <a:buSzTx/>
                <a:buFontTx/>
                <a:buNone/>
                <a:tabLst/>
                <a:defRPr/>
              </a:pPr>
              <a:r>
                <a:rPr lang="da-DK" sz="600" b="1" kern="1200" baseline="0" noProof="1">
                  <a:solidFill>
                    <a:schemeClr val="tx1"/>
                  </a:solidFill>
                  <a:latin typeface="Arial" charset="0"/>
                  <a:ea typeface="+mn-ea"/>
                  <a:cs typeface="Arial" panose="020B0604020202020204" pitchFamily="34" charset="0"/>
                </a:rPr>
                <a:t>Gem som  - Gennemse - Komprimeringsindstillinger.</a:t>
              </a:r>
            </a:p>
            <a:p>
              <a:pPr marL="0" marR="0" lvl="0" indent="0" algn="l" defTabSz="818672" rtl="0" eaLnBrk="1" fontAlgn="auto" latinLnBrk="0" hangingPunct="1">
                <a:lnSpc>
                  <a:spcPct val="100000"/>
                </a:lnSpc>
                <a:spcBef>
                  <a:spcPts val="0"/>
                </a:spcBef>
                <a:spcAft>
                  <a:spcPts val="450"/>
                </a:spcAft>
                <a:buClrTx/>
                <a:buSzTx/>
                <a:buFontTx/>
                <a:buNone/>
                <a:tabLst/>
                <a:defRPr/>
              </a:pPr>
              <a:r>
                <a:rPr lang="da-DK" sz="600" b="0" kern="1200" baseline="0" noProof="1">
                  <a:solidFill>
                    <a:schemeClr val="tx1"/>
                  </a:solidFill>
                  <a:latin typeface="Arial" charset="0"/>
                  <a:ea typeface="+mn-ea"/>
                  <a:cs typeface="Arial" panose="020B0604020202020204" pitchFamily="34" charset="0"/>
                </a:rPr>
                <a:t>Sørg dog for ikke at gemme under 150 ppi.</a:t>
              </a:r>
            </a:p>
            <a:p>
              <a:pPr eaLnBrk="1" hangingPunct="1">
                <a:lnSpc>
                  <a:spcPct val="100000"/>
                </a:lnSpc>
                <a:spcAft>
                  <a:spcPts val="450"/>
                </a:spcAft>
                <a:defRPr/>
              </a:pPr>
              <a:endParaRPr lang="da-DK" sz="600" b="1" kern="1200" noProof="1">
                <a:solidFill>
                  <a:schemeClr val="tx1"/>
                </a:solidFill>
                <a:latin typeface="Arial" charset="0"/>
                <a:ea typeface="+mn-ea"/>
                <a:cs typeface="Arial" panose="020B0604020202020204" pitchFamily="34" charset="0"/>
              </a:endParaRPr>
            </a:p>
          </p:txBody>
        </p:sp>
        <p:pic>
          <p:nvPicPr>
            <p:cNvPr id="16" name="Billede 3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253742" y="1251221"/>
              <a:ext cx="288708" cy="275280"/>
            </a:xfrm>
            <a:prstGeom prst="rect">
              <a:avLst/>
            </a:prstGeom>
          </p:spPr>
        </p:pic>
        <p:pic>
          <p:nvPicPr>
            <p:cNvPr id="17" name="Billede 3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36080" y="1274439"/>
              <a:ext cx="223122" cy="228843"/>
            </a:xfrm>
            <a:prstGeom prst="rect">
              <a:avLst/>
            </a:prstGeom>
          </p:spPr>
        </p:pic>
      </p:grpSp>
      <p:grpSp>
        <p:nvGrpSpPr>
          <p:cNvPr id="15" name="Group 14">
            <a:extLst>
              <a:ext uri="{FF2B5EF4-FFF2-40B4-BE49-F238E27FC236}">
                <a16:creationId xmlns:a16="http://schemas.microsoft.com/office/drawing/2014/main" id="{A3A8E90E-A7D6-258C-89D3-39CC25AFBA3E}"/>
              </a:ext>
            </a:extLst>
          </p:cNvPr>
          <p:cNvGrpSpPr>
            <a:grpSpLocks/>
          </p:cNvGrpSpPr>
          <p:nvPr userDrawn="1"/>
        </p:nvGrpSpPr>
        <p:grpSpPr>
          <a:xfrm>
            <a:off x="404244" y="991129"/>
            <a:ext cx="1658472" cy="3123796"/>
            <a:chOff x="538992" y="1321505"/>
            <a:chExt cx="2211296" cy="4165061"/>
          </a:xfrm>
        </p:grpSpPr>
        <p:sp>
          <p:nvSpPr>
            <p:cNvPr id="3" name="Text Box 48"/>
            <p:cNvSpPr txBox="1">
              <a:spLocks noChangeArrowheads="1"/>
            </p:cNvSpPr>
            <p:nvPr userDrawn="1"/>
          </p:nvSpPr>
          <p:spPr bwMode="auto">
            <a:xfrm>
              <a:off x="538992" y="1321505"/>
              <a:ext cx="2211296" cy="2161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450"/>
                </a:spcAft>
                <a:defRPr/>
              </a:pPr>
              <a:r>
                <a:rPr lang="da-DK" sz="750" b="1" noProof="1">
                  <a:solidFill>
                    <a:schemeClr val="tx1"/>
                  </a:solidFill>
                  <a:latin typeface="+mn-lt"/>
                  <a:cs typeface="Arial" panose="020B0604020202020204" pitchFamily="34" charset="0"/>
                </a:rPr>
                <a:t>SDFI-skabeloner til PowerPoint</a:t>
              </a:r>
            </a:p>
            <a:p>
              <a:pPr eaLnBrk="1" hangingPunct="1">
                <a:spcAft>
                  <a:spcPts val="450"/>
                </a:spcAft>
                <a:defRPr/>
              </a:pPr>
              <a:r>
                <a:rPr lang="da-DK" sz="600" dirty="0">
                  <a:effectLst/>
                  <a:latin typeface="+mn-lt"/>
                  <a:ea typeface="Arial" panose="020B0604020202020204" pitchFamily="34" charset="0"/>
                  <a:cs typeface="Arial" panose="020B0604020202020204" pitchFamily="34" charset="0"/>
                </a:rPr>
                <a:t>16:9-format</a:t>
              </a:r>
              <a:endParaRPr lang="da-DK" sz="600" baseline="0" dirty="0">
                <a:effectLst/>
                <a:latin typeface="+mn-lt"/>
                <a:ea typeface="Arial" panose="020B0604020202020204" pitchFamily="34" charset="0"/>
                <a:cs typeface="Arial" panose="020B0604020202020204" pitchFamily="34" charset="0"/>
              </a:endParaRPr>
            </a:p>
            <a:p>
              <a:pPr eaLnBrk="1" hangingPunct="1">
                <a:lnSpc>
                  <a:spcPct val="100000"/>
                </a:lnSpc>
                <a:spcAft>
                  <a:spcPts val="450"/>
                </a:spcAft>
                <a:defRPr/>
              </a:pPr>
              <a:r>
                <a:rPr lang="da-DK" sz="600" kern="1200" dirty="0">
                  <a:solidFill>
                    <a:schemeClr val="tx1"/>
                  </a:solidFill>
                  <a:effectLst/>
                  <a:latin typeface="Arial" charset="0"/>
                  <a:ea typeface="Arial" panose="020B0604020202020204" pitchFamily="34" charset="0"/>
                  <a:cs typeface="Arial" panose="020B0604020202020204" pitchFamily="34" charset="0"/>
                </a:rPr>
                <a:t>SDFI-skabelonen findes med både dansk og engelsk logo.</a:t>
              </a:r>
              <a:r>
                <a:rPr lang="da-DK" sz="600" kern="1200" baseline="0" dirty="0">
                  <a:solidFill>
                    <a:schemeClr val="tx1"/>
                  </a:solidFill>
                  <a:effectLst/>
                  <a:latin typeface="Arial" charset="0"/>
                  <a:ea typeface="Arial" panose="020B0604020202020204" pitchFamily="34" charset="0"/>
                  <a:cs typeface="Arial" panose="020B0604020202020204" pitchFamily="34" charset="0"/>
                </a:rPr>
                <a:t> </a:t>
              </a:r>
              <a:endParaRPr lang="da-DK" sz="600" b="0" kern="1200" dirty="0">
                <a:solidFill>
                  <a:schemeClr val="tx1"/>
                </a:solidFill>
                <a:effectLst/>
                <a:latin typeface="Arial" charset="0"/>
                <a:ea typeface="Arial" panose="020B0604020202020204" pitchFamily="34" charset="0"/>
                <a:cs typeface="Arial" panose="020B0604020202020204" pitchFamily="34" charset="0"/>
              </a:endParaRPr>
            </a:p>
            <a:p>
              <a:pPr>
                <a:lnSpc>
                  <a:spcPct val="100000"/>
                </a:lnSpc>
                <a:spcAft>
                  <a:spcPts val="750"/>
                </a:spcAft>
              </a:pPr>
              <a:r>
                <a:rPr lang="da-DK" sz="600" b="0" kern="1200" baseline="0" dirty="0">
                  <a:solidFill>
                    <a:schemeClr val="tx1"/>
                  </a:solidFill>
                  <a:effectLst/>
                  <a:latin typeface="Arial" charset="0"/>
                  <a:ea typeface="Arial" panose="020B0604020202020204" pitchFamily="34" charset="0"/>
                  <a:cs typeface="Arial" panose="020B0604020202020204" pitchFamily="34" charset="0"/>
                </a:rPr>
                <a:t>Skabelonen findes i to versioner – en </a:t>
              </a:r>
              <a:r>
                <a:rPr lang="da-DK" sz="600" b="0" i="1" kern="1200" baseline="0" dirty="0">
                  <a:solidFill>
                    <a:schemeClr val="tx1"/>
                  </a:solidFill>
                  <a:effectLst/>
                  <a:latin typeface="Arial" charset="0"/>
                  <a:ea typeface="Arial" panose="020B0604020202020204" pitchFamily="34" charset="0"/>
                  <a:cs typeface="Arial" panose="020B0604020202020204" pitchFamily="34" charset="0"/>
                </a:rPr>
                <a:t>enkel </a:t>
              </a:r>
              <a:r>
                <a:rPr lang="da-DK" sz="600" b="0" kern="1200" baseline="0" dirty="0">
                  <a:solidFill>
                    <a:schemeClr val="tx1"/>
                  </a:solidFill>
                  <a:effectLst/>
                  <a:latin typeface="Arial" charset="0"/>
                  <a:ea typeface="Arial" panose="020B0604020202020204" pitchFamily="34" charset="0"/>
                  <a:cs typeface="Arial" panose="020B0604020202020204" pitchFamily="34" charset="0"/>
                </a:rPr>
                <a:t>og en </a:t>
              </a:r>
              <a:r>
                <a:rPr lang="da-DK" sz="600" b="0" i="1" kern="1200" baseline="0" dirty="0">
                  <a:solidFill>
                    <a:schemeClr val="tx1"/>
                  </a:solidFill>
                  <a:effectLst/>
                  <a:latin typeface="Arial" charset="0"/>
                  <a:ea typeface="Arial" panose="020B0604020202020204" pitchFamily="34" charset="0"/>
                  <a:cs typeface="Arial" panose="020B0604020202020204" pitchFamily="34" charset="0"/>
                </a:rPr>
                <a:t>fuld</a:t>
              </a:r>
              <a:r>
                <a:rPr lang="da-DK" sz="600" b="0" kern="1200" baseline="0" dirty="0">
                  <a:solidFill>
                    <a:schemeClr val="tx1"/>
                  </a:solidFill>
                  <a:effectLst/>
                  <a:latin typeface="Arial" charset="0"/>
                  <a:ea typeface="Arial" panose="020B0604020202020204" pitchFamily="34" charset="0"/>
                  <a:cs typeface="Arial" panose="020B0604020202020204" pitchFamily="34" charset="0"/>
                </a:rPr>
                <a:t>:</a:t>
              </a:r>
            </a:p>
            <a:p>
              <a:pPr marL="128588" marR="0" lvl="0" indent="-128588" algn="l" defTabSz="818672" rtl="0" eaLnBrk="0" fontAlgn="auto" latinLnBrk="0" hangingPunct="0">
                <a:lnSpc>
                  <a:spcPct val="100000"/>
                </a:lnSpc>
                <a:spcBef>
                  <a:spcPts val="0"/>
                </a:spcBef>
                <a:spcAft>
                  <a:spcPts val="750"/>
                </a:spcAft>
                <a:buClrTx/>
                <a:buSzTx/>
                <a:buFontTx/>
                <a:buChar char="-"/>
                <a:tabLst/>
                <a:defRPr/>
              </a:pPr>
              <a:r>
                <a:rPr lang="da-DK" sz="600" b="0" kern="1200" baseline="0" dirty="0">
                  <a:solidFill>
                    <a:schemeClr val="tx1"/>
                  </a:solidFill>
                  <a:effectLst/>
                  <a:latin typeface="Arial" charset="0"/>
                  <a:ea typeface="Arial" panose="020B0604020202020204" pitchFamily="34" charset="0"/>
                  <a:cs typeface="Arial" panose="020B0604020202020204" pitchFamily="34" charset="0"/>
                </a:rPr>
                <a:t>Den ”enkle” version tilbyder de mest brugte slides i et simpelt layout. Du kan tilføje slides afhængigt af behov.</a:t>
              </a:r>
              <a:endParaRPr lang="da-DK" sz="600" kern="1200" dirty="0">
                <a:solidFill>
                  <a:schemeClr val="tx1"/>
                </a:solidFill>
                <a:effectLst/>
                <a:latin typeface="Arial" charset="0"/>
                <a:ea typeface="Arial" panose="020B0604020202020204" pitchFamily="34" charset="0"/>
                <a:cs typeface="Arial" panose="020B0604020202020204" pitchFamily="34" charset="0"/>
              </a:endParaRPr>
            </a:p>
            <a:p>
              <a:pPr marL="128588" indent="-128588">
                <a:lnSpc>
                  <a:spcPct val="100000"/>
                </a:lnSpc>
                <a:spcAft>
                  <a:spcPts val="750"/>
                </a:spcAft>
                <a:buFontTx/>
                <a:buChar char="-"/>
              </a:pPr>
              <a:r>
                <a:rPr lang="da-DK" sz="600" b="0" kern="1200" baseline="0" dirty="0">
                  <a:solidFill>
                    <a:schemeClr val="tx1"/>
                  </a:solidFill>
                  <a:effectLst/>
                  <a:latin typeface="Arial" charset="0"/>
                  <a:ea typeface="Arial" panose="020B0604020202020204" pitchFamily="34" charset="0"/>
                  <a:cs typeface="Arial" panose="020B0604020202020204" pitchFamily="34" charset="0"/>
                </a:rPr>
                <a:t>Den ”fulde” version indeholder flere grafiske elementer og prædefinerede sider om SDFI. Du sletter selv de slides, du ikke vil bruge.</a:t>
              </a:r>
              <a:endParaRPr lang="da-DK" sz="600" dirty="0">
                <a:effectLst/>
                <a:latin typeface="+mn-lt"/>
                <a:ea typeface="Arial" panose="020B0604020202020204" pitchFamily="34" charset="0"/>
                <a:cs typeface="Arial" panose="020B0604020202020204" pitchFamily="34" charset="0"/>
              </a:endParaRPr>
            </a:p>
          </p:txBody>
        </p:sp>
        <p:sp>
          <p:nvSpPr>
            <p:cNvPr id="18" name="Text Box 48"/>
            <p:cNvSpPr txBox="1">
              <a:spLocks noChangeArrowheads="1"/>
            </p:cNvSpPr>
            <p:nvPr userDrawn="1"/>
          </p:nvSpPr>
          <p:spPr bwMode="auto">
            <a:xfrm>
              <a:off x="538992" y="4060534"/>
              <a:ext cx="1768136" cy="142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818672" rtl="0" eaLnBrk="1" fontAlgn="auto" latinLnBrk="0" hangingPunct="1">
                <a:lnSpc>
                  <a:spcPct val="100000"/>
                </a:lnSpc>
                <a:spcBef>
                  <a:spcPts val="0"/>
                </a:spcBef>
                <a:spcAft>
                  <a:spcPts val="450"/>
                </a:spcAft>
                <a:buClrTx/>
                <a:buSzTx/>
                <a:buFontTx/>
                <a:buNone/>
                <a:tabLst/>
                <a:defRPr/>
              </a:pPr>
              <a:r>
                <a:rPr lang="da-DK" sz="750" b="1" kern="1200" noProof="1">
                  <a:solidFill>
                    <a:srgbClr val="0097A7"/>
                  </a:solidFill>
                  <a:latin typeface="Arial" charset="0"/>
                  <a:ea typeface="+mn-ea"/>
                  <a:cs typeface="Arial" panose="020B0604020202020204" pitchFamily="34" charset="0"/>
                </a:rPr>
                <a:t>Trin for trin</a:t>
              </a:r>
              <a:endParaRPr lang="da-DK" sz="750" b="1" kern="1200" noProof="1">
                <a:solidFill>
                  <a:schemeClr val="tx1"/>
                </a:solidFill>
                <a:latin typeface="Arial" charset="0"/>
                <a:ea typeface="+mn-ea"/>
                <a:cs typeface="Arial" panose="020B0604020202020204" pitchFamily="34" charset="0"/>
              </a:endParaRPr>
            </a:p>
            <a:p>
              <a:pPr marL="0" marR="0" lvl="0" indent="0" algn="l" defTabSz="818672" rtl="0" eaLnBrk="1" fontAlgn="auto" latinLnBrk="0" hangingPunct="1">
                <a:lnSpc>
                  <a:spcPct val="100000"/>
                </a:lnSpc>
                <a:spcBef>
                  <a:spcPts val="0"/>
                </a:spcBef>
                <a:spcAft>
                  <a:spcPts val="450"/>
                </a:spcAft>
                <a:buClrTx/>
                <a:buSzTx/>
                <a:buFontTx/>
                <a:buNone/>
                <a:tabLst/>
                <a:defRPr/>
              </a:pPr>
              <a:r>
                <a:rPr lang="da-DK" sz="750" b="1" kern="1200" noProof="1">
                  <a:solidFill>
                    <a:schemeClr val="tx1"/>
                  </a:solidFill>
                  <a:latin typeface="Arial" charset="0"/>
                  <a:ea typeface="+mn-ea"/>
                  <a:cs typeface="Arial" panose="020B0604020202020204" pitchFamily="34" charset="0"/>
                </a:rPr>
                <a:t>Nyt slide</a:t>
              </a:r>
              <a:endParaRPr lang="da-DK" sz="750" b="1" kern="1200" noProof="1">
                <a:solidFill>
                  <a:schemeClr val="tx1"/>
                </a:solidFill>
                <a:latin typeface="+mn-lt"/>
                <a:ea typeface="+mn-ea"/>
                <a:cs typeface="Arial" panose="020B0604020202020204" pitchFamily="34" charset="0"/>
              </a:endParaRPr>
            </a:p>
            <a:p>
              <a:pPr marL="0" marR="0" lvl="0" indent="0" algn="l" defTabSz="818672" rtl="0" eaLnBrk="1" fontAlgn="auto" latinLnBrk="0" hangingPunct="1">
                <a:lnSpc>
                  <a:spcPct val="100000"/>
                </a:lnSpc>
                <a:spcBef>
                  <a:spcPts val="0"/>
                </a:spcBef>
                <a:spcAft>
                  <a:spcPts val="450"/>
                </a:spcAft>
                <a:buClrTx/>
                <a:buSzTx/>
                <a:buFontTx/>
                <a:buNone/>
                <a:tabLst/>
                <a:defRPr/>
              </a:pPr>
              <a:r>
                <a:rPr lang="da-DK" altLang="da-DK" sz="600" b="1" kern="1200" noProof="1">
                  <a:solidFill>
                    <a:schemeClr val="tx1"/>
                  </a:solidFill>
                  <a:latin typeface="+mn-lt"/>
                  <a:ea typeface="+mn-ea"/>
                  <a:cs typeface="Arial" panose="020B0604020202020204" pitchFamily="34" charset="0"/>
                </a:rPr>
                <a:t>1. </a:t>
              </a:r>
              <a:r>
                <a:rPr lang="da-DK" altLang="da-DK" sz="600" kern="1200" noProof="1">
                  <a:solidFill>
                    <a:schemeClr val="tx1"/>
                  </a:solidFill>
                  <a:latin typeface="+mn-lt"/>
                  <a:ea typeface="+mn-ea"/>
                  <a:cs typeface="Arial" panose="020B0604020202020204" pitchFamily="34" charset="0"/>
                </a:rPr>
                <a:t>Klik på </a:t>
              </a:r>
              <a:r>
                <a:rPr lang="da-DK" altLang="da-DK" sz="600" b="1" kern="1200" noProof="1">
                  <a:solidFill>
                    <a:schemeClr val="tx1"/>
                  </a:solidFill>
                  <a:latin typeface="+mn-lt"/>
                  <a:ea typeface="+mn-ea"/>
                  <a:cs typeface="Arial" panose="020B0604020202020204" pitchFamily="34" charset="0"/>
                </a:rPr>
                <a:t>Startside/Hjem</a:t>
              </a:r>
              <a:endParaRPr lang="da-DK" altLang="da-DK" sz="600" b="1" noProof="1">
                <a:solidFill>
                  <a:schemeClr val="tx1"/>
                </a:solidFill>
                <a:latin typeface="+mn-lt"/>
                <a:cs typeface="Arial" panose="020B0604020202020204" pitchFamily="34" charset="0"/>
              </a:endParaRPr>
            </a:p>
            <a:p>
              <a:pPr marL="0" marR="0" lvl="0" indent="0" algn="l" defTabSz="818672" rtl="0" eaLnBrk="1" fontAlgn="auto" latinLnBrk="0" hangingPunct="1">
                <a:lnSpc>
                  <a:spcPct val="100000"/>
                </a:lnSpc>
                <a:spcBef>
                  <a:spcPts val="0"/>
                </a:spcBef>
                <a:spcAft>
                  <a:spcPts val="450"/>
                </a:spcAft>
                <a:buClrTx/>
                <a:buSzTx/>
                <a:buFontTx/>
                <a:buNone/>
                <a:tabLst/>
                <a:defRPr/>
              </a:pPr>
              <a:r>
                <a:rPr lang="da-DK" altLang="da-DK" sz="600" b="1" noProof="1">
                  <a:solidFill>
                    <a:schemeClr val="tx1"/>
                  </a:solidFill>
                  <a:latin typeface="+mn-lt"/>
                  <a:cs typeface="Arial" panose="020B0604020202020204" pitchFamily="34" charset="0"/>
                </a:rPr>
                <a:t>2.</a:t>
              </a:r>
              <a:r>
                <a:rPr lang="da-DK" altLang="da-DK" sz="600" b="1" baseline="0" noProof="1">
                  <a:solidFill>
                    <a:schemeClr val="tx1"/>
                  </a:solidFill>
                  <a:latin typeface="+mn-lt"/>
                  <a:cs typeface="Arial" panose="020B0604020202020204" pitchFamily="34" charset="0"/>
                </a:rPr>
                <a:t> </a:t>
              </a:r>
              <a:r>
                <a:rPr lang="da-DK" altLang="da-DK" sz="600" baseline="0" noProof="1">
                  <a:solidFill>
                    <a:schemeClr val="tx1"/>
                  </a:solidFill>
                  <a:latin typeface="+mn-lt"/>
                  <a:cs typeface="Arial" panose="020B0604020202020204" pitchFamily="34" charset="0"/>
                </a:rPr>
                <a:t>Under knappen </a:t>
              </a:r>
              <a:r>
                <a:rPr lang="da-DK" altLang="da-DK" sz="600" b="1" baseline="0" noProof="1">
                  <a:solidFill>
                    <a:schemeClr val="tx1"/>
                  </a:solidFill>
                  <a:latin typeface="+mn-lt"/>
                  <a:cs typeface="Arial" panose="020B0604020202020204" pitchFamily="34" charset="0"/>
                </a:rPr>
                <a:t>Ny slide</a:t>
              </a:r>
              <a:r>
                <a:rPr lang="da-DK" altLang="da-DK" sz="600" b="0" baseline="0" noProof="1">
                  <a:solidFill>
                    <a:schemeClr val="tx1"/>
                  </a:solidFill>
                  <a:latin typeface="+mn-lt"/>
                  <a:cs typeface="Arial" panose="020B0604020202020204" pitchFamily="34" charset="0"/>
                </a:rPr>
                <a:t>:</a:t>
              </a:r>
              <a:r>
                <a:rPr lang="da-DK" altLang="da-DK" sz="600" baseline="0" noProof="1">
                  <a:solidFill>
                    <a:schemeClr val="tx1"/>
                  </a:solidFill>
                  <a:latin typeface="+mn-lt"/>
                  <a:cs typeface="Arial" panose="020B0604020202020204" pitchFamily="34" charset="0"/>
                </a:rPr>
                <a:t> </a:t>
              </a:r>
              <a:br>
                <a:rPr lang="da-DK" altLang="da-DK" sz="600" baseline="0" noProof="1">
                  <a:solidFill>
                    <a:schemeClr val="tx1"/>
                  </a:solidFill>
                  <a:latin typeface="+mn-lt"/>
                  <a:cs typeface="Arial" panose="020B0604020202020204" pitchFamily="34" charset="0"/>
                </a:rPr>
              </a:br>
              <a:r>
                <a:rPr lang="da-DK" altLang="da-DK" sz="600" kern="1200" baseline="0" noProof="1">
                  <a:solidFill>
                    <a:schemeClr val="tx1"/>
                  </a:solidFill>
                  <a:latin typeface="Arial" charset="0"/>
                  <a:ea typeface="+mn-ea"/>
                  <a:cs typeface="Arial" panose="020B0604020202020204" pitchFamily="34" charset="0"/>
                </a:rPr>
                <a:t>Klik på øverste del af knappen for duplikere det slide, du har markeret.</a:t>
              </a:r>
              <a:br>
                <a:rPr lang="da-DK" altLang="da-DK" sz="600" kern="1200" baseline="0" noProof="1">
                  <a:solidFill>
                    <a:schemeClr val="tx1"/>
                  </a:solidFill>
                  <a:latin typeface="Arial" charset="0"/>
                  <a:ea typeface="+mn-ea"/>
                  <a:cs typeface="Arial" panose="020B0604020202020204" pitchFamily="34" charset="0"/>
                </a:rPr>
              </a:br>
              <a:r>
                <a:rPr lang="da-DK" altLang="da-DK" sz="600" kern="1200" baseline="0" noProof="1">
                  <a:solidFill>
                    <a:schemeClr val="tx1"/>
                  </a:solidFill>
                  <a:latin typeface="Arial" charset="0"/>
                  <a:ea typeface="+mn-ea"/>
                  <a:cs typeface="Arial" panose="020B0604020202020204" pitchFamily="34" charset="0"/>
                </a:rPr>
                <a:t>Eller klik på nederste del for at se et udvalg af mulige layoutvalg</a:t>
              </a:r>
              <a:r>
                <a:rPr lang="da-DK" altLang="da-DK" sz="600" baseline="0" noProof="1">
                  <a:solidFill>
                    <a:schemeClr val="tx1"/>
                  </a:solidFill>
                  <a:latin typeface="+mn-lt"/>
                  <a:cs typeface="Arial" panose="020B0604020202020204" pitchFamily="34" charset="0"/>
                </a:rPr>
                <a:t>.</a:t>
              </a:r>
              <a:endParaRPr lang="da-DK" altLang="da-DK" sz="600" noProof="1">
                <a:solidFill>
                  <a:schemeClr val="tx1"/>
                </a:solidFill>
                <a:latin typeface="+mn-lt"/>
                <a:cs typeface="Arial" panose="020B0604020202020204" pitchFamily="34" charset="0"/>
              </a:endParaRPr>
            </a:p>
          </p:txBody>
        </p:sp>
        <p:grpSp>
          <p:nvGrpSpPr>
            <p:cNvPr id="22" name="Gruppe 21"/>
            <p:cNvGrpSpPr/>
            <p:nvPr userDrawn="1"/>
          </p:nvGrpSpPr>
          <p:grpSpPr>
            <a:xfrm>
              <a:off x="2217051" y="4374260"/>
              <a:ext cx="254467" cy="418987"/>
              <a:chOff x="4282419" y="1844048"/>
              <a:chExt cx="254467" cy="418987"/>
            </a:xfrm>
          </p:grpSpPr>
          <p:pic>
            <p:nvPicPr>
              <p:cNvPr id="19" name="Billede 39"/>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282419" y="1844048"/>
                <a:ext cx="235367" cy="418987"/>
              </a:xfrm>
              <a:prstGeom prst="rect">
                <a:avLst/>
              </a:prstGeom>
            </p:spPr>
          </p:pic>
          <p:sp>
            <p:nvSpPr>
              <p:cNvPr id="20" name="Freeform 10"/>
              <p:cNvSpPr>
                <a:spLocks noChangeAspect="1"/>
              </p:cNvSpPr>
              <p:nvPr userDrawn="1"/>
            </p:nvSpPr>
            <p:spPr>
              <a:xfrm rot="19800000">
                <a:off x="4454880" y="1900198"/>
                <a:ext cx="69672" cy="124351"/>
              </a:xfrm>
              <a:custGeom>
                <a:avLst/>
                <a:gdLst>
                  <a:gd name="connsiteX0" fmla="*/ 381342 w 762684"/>
                  <a:gd name="connsiteY0" fmla="*/ 0 h 1361254"/>
                  <a:gd name="connsiteX1" fmla="*/ 762684 w 762684"/>
                  <a:gd name="connsiteY1" fmla="*/ 823784 h 1361254"/>
                  <a:gd name="connsiteX2" fmla="*/ 459602 w 762684"/>
                  <a:gd name="connsiteY2" fmla="*/ 823784 h 1361254"/>
                  <a:gd name="connsiteX3" fmla="*/ 459601 w 762684"/>
                  <a:gd name="connsiteY3" fmla="*/ 1282994 h 1361254"/>
                  <a:gd name="connsiteX4" fmla="*/ 381341 w 762684"/>
                  <a:gd name="connsiteY4" fmla="*/ 1361254 h 1361254"/>
                  <a:gd name="connsiteX5" fmla="*/ 381342 w 762684"/>
                  <a:gd name="connsiteY5" fmla="*/ 1361253 h 1361254"/>
                  <a:gd name="connsiteX6" fmla="*/ 303082 w 762684"/>
                  <a:gd name="connsiteY6" fmla="*/ 1282993 h 1361254"/>
                  <a:gd name="connsiteX7" fmla="*/ 303082 w 762684"/>
                  <a:gd name="connsiteY7" fmla="*/ 823784 h 1361254"/>
                  <a:gd name="connsiteX8" fmla="*/ 0 w 762684"/>
                  <a:gd name="connsiteY8" fmla="*/ 823784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81342 w 762684"/>
                  <a:gd name="connsiteY10"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16886 w 762684"/>
                  <a:gd name="connsiteY10" fmla="*/ 123104 h 1361254"/>
                  <a:gd name="connsiteX11" fmla="*/ 381342 w 762684"/>
                  <a:gd name="connsiteY11"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19866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48840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34 h 1361288"/>
                  <a:gd name="connsiteX1" fmla="*/ 425041 w 762684"/>
                  <a:gd name="connsiteY1" fmla="*/ 27274 h 1361288"/>
                  <a:gd name="connsiteX2" fmla="*/ 762684 w 762684"/>
                  <a:gd name="connsiteY2" fmla="*/ 823818 h 1361288"/>
                  <a:gd name="connsiteX3" fmla="*/ 459602 w 762684"/>
                  <a:gd name="connsiteY3" fmla="*/ 823818 h 1361288"/>
                  <a:gd name="connsiteX4" fmla="*/ 459601 w 762684"/>
                  <a:gd name="connsiteY4" fmla="*/ 1283028 h 1361288"/>
                  <a:gd name="connsiteX5" fmla="*/ 381341 w 762684"/>
                  <a:gd name="connsiteY5" fmla="*/ 1361288 h 1361288"/>
                  <a:gd name="connsiteX6" fmla="*/ 381342 w 762684"/>
                  <a:gd name="connsiteY6" fmla="*/ 1361287 h 1361288"/>
                  <a:gd name="connsiteX7" fmla="*/ 303082 w 762684"/>
                  <a:gd name="connsiteY7" fmla="*/ 1283027 h 1361288"/>
                  <a:gd name="connsiteX8" fmla="*/ 303082 w 762684"/>
                  <a:gd name="connsiteY8" fmla="*/ 823818 h 1361288"/>
                  <a:gd name="connsiteX9" fmla="*/ 0 w 762684"/>
                  <a:gd name="connsiteY9" fmla="*/ 823818 h 1361288"/>
                  <a:gd name="connsiteX10" fmla="*/ 334092 w 762684"/>
                  <a:gd name="connsiteY10" fmla="*/ 27275 h 1361288"/>
                  <a:gd name="connsiteX11" fmla="*/ 381342 w 762684"/>
                  <a:gd name="connsiteY11" fmla="*/ 34 h 1361288"/>
                  <a:gd name="connsiteX0" fmla="*/ 381342 w 762684"/>
                  <a:gd name="connsiteY0" fmla="*/ 269 h 1361523"/>
                  <a:gd name="connsiteX1" fmla="*/ 425041 w 762684"/>
                  <a:gd name="connsiteY1" fmla="*/ 27509 h 1361523"/>
                  <a:gd name="connsiteX2" fmla="*/ 762684 w 762684"/>
                  <a:gd name="connsiteY2" fmla="*/ 824053 h 1361523"/>
                  <a:gd name="connsiteX3" fmla="*/ 459602 w 762684"/>
                  <a:gd name="connsiteY3" fmla="*/ 824053 h 1361523"/>
                  <a:gd name="connsiteX4" fmla="*/ 459601 w 762684"/>
                  <a:gd name="connsiteY4" fmla="*/ 1283263 h 1361523"/>
                  <a:gd name="connsiteX5" fmla="*/ 381341 w 762684"/>
                  <a:gd name="connsiteY5" fmla="*/ 1361523 h 1361523"/>
                  <a:gd name="connsiteX6" fmla="*/ 381342 w 762684"/>
                  <a:gd name="connsiteY6" fmla="*/ 1361522 h 1361523"/>
                  <a:gd name="connsiteX7" fmla="*/ 303082 w 762684"/>
                  <a:gd name="connsiteY7" fmla="*/ 1283262 h 1361523"/>
                  <a:gd name="connsiteX8" fmla="*/ 303082 w 762684"/>
                  <a:gd name="connsiteY8" fmla="*/ 824053 h 1361523"/>
                  <a:gd name="connsiteX9" fmla="*/ 0 w 762684"/>
                  <a:gd name="connsiteY9" fmla="*/ 824053 h 1361523"/>
                  <a:gd name="connsiteX10" fmla="*/ 334092 w 762684"/>
                  <a:gd name="connsiteY10" fmla="*/ 27510 h 1361523"/>
                  <a:gd name="connsiteX11" fmla="*/ 381342 w 762684"/>
                  <a:gd name="connsiteY11" fmla="*/ 269 h 1361523"/>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18 h 1361272"/>
                  <a:gd name="connsiteX1" fmla="*/ 425041 w 762684"/>
                  <a:gd name="connsiteY1" fmla="*/ 27258 h 1361272"/>
                  <a:gd name="connsiteX2" fmla="*/ 762684 w 762684"/>
                  <a:gd name="connsiteY2" fmla="*/ 823802 h 1361272"/>
                  <a:gd name="connsiteX3" fmla="*/ 459602 w 762684"/>
                  <a:gd name="connsiteY3" fmla="*/ 823802 h 1361272"/>
                  <a:gd name="connsiteX4" fmla="*/ 459601 w 762684"/>
                  <a:gd name="connsiteY4" fmla="*/ 1283012 h 1361272"/>
                  <a:gd name="connsiteX5" fmla="*/ 381341 w 762684"/>
                  <a:gd name="connsiteY5" fmla="*/ 1361272 h 1361272"/>
                  <a:gd name="connsiteX6" fmla="*/ 381342 w 762684"/>
                  <a:gd name="connsiteY6" fmla="*/ 1361271 h 1361272"/>
                  <a:gd name="connsiteX7" fmla="*/ 303082 w 762684"/>
                  <a:gd name="connsiteY7" fmla="*/ 1283011 h 1361272"/>
                  <a:gd name="connsiteX8" fmla="*/ 303082 w 762684"/>
                  <a:gd name="connsiteY8" fmla="*/ 823802 h 1361272"/>
                  <a:gd name="connsiteX9" fmla="*/ 0 w 762684"/>
                  <a:gd name="connsiteY9" fmla="*/ 823802 h 1361272"/>
                  <a:gd name="connsiteX10" fmla="*/ 334092 w 762684"/>
                  <a:gd name="connsiteY10" fmla="*/ 27259 h 1361272"/>
                  <a:gd name="connsiteX11" fmla="*/ 381342 w 762684"/>
                  <a:gd name="connsiteY11" fmla="*/ 18 h 1361272"/>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6750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684" h="1361254">
                    <a:moveTo>
                      <a:pt x="381342" y="0"/>
                    </a:moveTo>
                    <a:cubicBezTo>
                      <a:pt x="395908" y="1387"/>
                      <a:pt x="412184" y="3630"/>
                      <a:pt x="426750" y="27240"/>
                    </a:cubicBezTo>
                    <a:lnTo>
                      <a:pt x="762684" y="823784"/>
                    </a:lnTo>
                    <a:lnTo>
                      <a:pt x="459602" y="823784"/>
                    </a:lnTo>
                    <a:cubicBezTo>
                      <a:pt x="459602" y="976854"/>
                      <a:pt x="459601" y="1129924"/>
                      <a:pt x="459601" y="1282994"/>
                    </a:cubicBezTo>
                    <a:cubicBezTo>
                      <a:pt x="459601" y="1326216"/>
                      <a:pt x="424563" y="1361254"/>
                      <a:pt x="381341" y="1361254"/>
                    </a:cubicBezTo>
                    <a:lnTo>
                      <a:pt x="381342" y="1361253"/>
                    </a:lnTo>
                    <a:cubicBezTo>
                      <a:pt x="338120" y="1361253"/>
                      <a:pt x="303082" y="1326215"/>
                      <a:pt x="303082" y="1282993"/>
                    </a:cubicBezTo>
                    <a:lnTo>
                      <a:pt x="303082" y="823784"/>
                    </a:lnTo>
                    <a:lnTo>
                      <a:pt x="0" y="823784"/>
                    </a:lnTo>
                    <a:lnTo>
                      <a:pt x="334092" y="27241"/>
                    </a:lnTo>
                    <a:cubicBezTo>
                      <a:pt x="343005" y="9615"/>
                      <a:pt x="366447" y="533"/>
                      <a:pt x="381342" y="0"/>
                    </a:cubicBezTo>
                    <a:close/>
                  </a:path>
                </a:pathLst>
              </a:custGeom>
              <a:solidFill>
                <a:schemeClr val="bg1"/>
              </a:solidFill>
              <a:ln w="952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solidFill>
                    <a:schemeClr val="tx1"/>
                  </a:solidFill>
                </a:endParaRPr>
              </a:p>
            </p:txBody>
          </p:sp>
          <p:sp>
            <p:nvSpPr>
              <p:cNvPr id="21" name="Freeform 10"/>
              <p:cNvSpPr>
                <a:spLocks noChangeAspect="1"/>
              </p:cNvSpPr>
              <p:nvPr userDrawn="1"/>
            </p:nvSpPr>
            <p:spPr>
              <a:xfrm rot="19800000">
                <a:off x="4467214" y="2138150"/>
                <a:ext cx="69672" cy="124351"/>
              </a:xfrm>
              <a:custGeom>
                <a:avLst/>
                <a:gdLst>
                  <a:gd name="connsiteX0" fmla="*/ 381342 w 762684"/>
                  <a:gd name="connsiteY0" fmla="*/ 0 h 1361254"/>
                  <a:gd name="connsiteX1" fmla="*/ 762684 w 762684"/>
                  <a:gd name="connsiteY1" fmla="*/ 823784 h 1361254"/>
                  <a:gd name="connsiteX2" fmla="*/ 459602 w 762684"/>
                  <a:gd name="connsiteY2" fmla="*/ 823784 h 1361254"/>
                  <a:gd name="connsiteX3" fmla="*/ 459601 w 762684"/>
                  <a:gd name="connsiteY3" fmla="*/ 1282994 h 1361254"/>
                  <a:gd name="connsiteX4" fmla="*/ 381341 w 762684"/>
                  <a:gd name="connsiteY4" fmla="*/ 1361254 h 1361254"/>
                  <a:gd name="connsiteX5" fmla="*/ 381342 w 762684"/>
                  <a:gd name="connsiteY5" fmla="*/ 1361253 h 1361254"/>
                  <a:gd name="connsiteX6" fmla="*/ 303082 w 762684"/>
                  <a:gd name="connsiteY6" fmla="*/ 1282993 h 1361254"/>
                  <a:gd name="connsiteX7" fmla="*/ 303082 w 762684"/>
                  <a:gd name="connsiteY7" fmla="*/ 823784 h 1361254"/>
                  <a:gd name="connsiteX8" fmla="*/ 0 w 762684"/>
                  <a:gd name="connsiteY8" fmla="*/ 823784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81342 w 762684"/>
                  <a:gd name="connsiteY10"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16886 w 762684"/>
                  <a:gd name="connsiteY10" fmla="*/ 123104 h 1361254"/>
                  <a:gd name="connsiteX11" fmla="*/ 381342 w 762684"/>
                  <a:gd name="connsiteY11"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19866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48840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34 h 1361288"/>
                  <a:gd name="connsiteX1" fmla="*/ 425041 w 762684"/>
                  <a:gd name="connsiteY1" fmla="*/ 27274 h 1361288"/>
                  <a:gd name="connsiteX2" fmla="*/ 762684 w 762684"/>
                  <a:gd name="connsiteY2" fmla="*/ 823818 h 1361288"/>
                  <a:gd name="connsiteX3" fmla="*/ 459602 w 762684"/>
                  <a:gd name="connsiteY3" fmla="*/ 823818 h 1361288"/>
                  <a:gd name="connsiteX4" fmla="*/ 459601 w 762684"/>
                  <a:gd name="connsiteY4" fmla="*/ 1283028 h 1361288"/>
                  <a:gd name="connsiteX5" fmla="*/ 381341 w 762684"/>
                  <a:gd name="connsiteY5" fmla="*/ 1361288 h 1361288"/>
                  <a:gd name="connsiteX6" fmla="*/ 381342 w 762684"/>
                  <a:gd name="connsiteY6" fmla="*/ 1361287 h 1361288"/>
                  <a:gd name="connsiteX7" fmla="*/ 303082 w 762684"/>
                  <a:gd name="connsiteY7" fmla="*/ 1283027 h 1361288"/>
                  <a:gd name="connsiteX8" fmla="*/ 303082 w 762684"/>
                  <a:gd name="connsiteY8" fmla="*/ 823818 h 1361288"/>
                  <a:gd name="connsiteX9" fmla="*/ 0 w 762684"/>
                  <a:gd name="connsiteY9" fmla="*/ 823818 h 1361288"/>
                  <a:gd name="connsiteX10" fmla="*/ 334092 w 762684"/>
                  <a:gd name="connsiteY10" fmla="*/ 27275 h 1361288"/>
                  <a:gd name="connsiteX11" fmla="*/ 381342 w 762684"/>
                  <a:gd name="connsiteY11" fmla="*/ 34 h 1361288"/>
                  <a:gd name="connsiteX0" fmla="*/ 381342 w 762684"/>
                  <a:gd name="connsiteY0" fmla="*/ 269 h 1361523"/>
                  <a:gd name="connsiteX1" fmla="*/ 425041 w 762684"/>
                  <a:gd name="connsiteY1" fmla="*/ 27509 h 1361523"/>
                  <a:gd name="connsiteX2" fmla="*/ 762684 w 762684"/>
                  <a:gd name="connsiteY2" fmla="*/ 824053 h 1361523"/>
                  <a:gd name="connsiteX3" fmla="*/ 459602 w 762684"/>
                  <a:gd name="connsiteY3" fmla="*/ 824053 h 1361523"/>
                  <a:gd name="connsiteX4" fmla="*/ 459601 w 762684"/>
                  <a:gd name="connsiteY4" fmla="*/ 1283263 h 1361523"/>
                  <a:gd name="connsiteX5" fmla="*/ 381341 w 762684"/>
                  <a:gd name="connsiteY5" fmla="*/ 1361523 h 1361523"/>
                  <a:gd name="connsiteX6" fmla="*/ 381342 w 762684"/>
                  <a:gd name="connsiteY6" fmla="*/ 1361522 h 1361523"/>
                  <a:gd name="connsiteX7" fmla="*/ 303082 w 762684"/>
                  <a:gd name="connsiteY7" fmla="*/ 1283262 h 1361523"/>
                  <a:gd name="connsiteX8" fmla="*/ 303082 w 762684"/>
                  <a:gd name="connsiteY8" fmla="*/ 824053 h 1361523"/>
                  <a:gd name="connsiteX9" fmla="*/ 0 w 762684"/>
                  <a:gd name="connsiteY9" fmla="*/ 824053 h 1361523"/>
                  <a:gd name="connsiteX10" fmla="*/ 334092 w 762684"/>
                  <a:gd name="connsiteY10" fmla="*/ 27510 h 1361523"/>
                  <a:gd name="connsiteX11" fmla="*/ 381342 w 762684"/>
                  <a:gd name="connsiteY11" fmla="*/ 269 h 1361523"/>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18 h 1361272"/>
                  <a:gd name="connsiteX1" fmla="*/ 425041 w 762684"/>
                  <a:gd name="connsiteY1" fmla="*/ 27258 h 1361272"/>
                  <a:gd name="connsiteX2" fmla="*/ 762684 w 762684"/>
                  <a:gd name="connsiteY2" fmla="*/ 823802 h 1361272"/>
                  <a:gd name="connsiteX3" fmla="*/ 459602 w 762684"/>
                  <a:gd name="connsiteY3" fmla="*/ 823802 h 1361272"/>
                  <a:gd name="connsiteX4" fmla="*/ 459601 w 762684"/>
                  <a:gd name="connsiteY4" fmla="*/ 1283012 h 1361272"/>
                  <a:gd name="connsiteX5" fmla="*/ 381341 w 762684"/>
                  <a:gd name="connsiteY5" fmla="*/ 1361272 h 1361272"/>
                  <a:gd name="connsiteX6" fmla="*/ 381342 w 762684"/>
                  <a:gd name="connsiteY6" fmla="*/ 1361271 h 1361272"/>
                  <a:gd name="connsiteX7" fmla="*/ 303082 w 762684"/>
                  <a:gd name="connsiteY7" fmla="*/ 1283011 h 1361272"/>
                  <a:gd name="connsiteX8" fmla="*/ 303082 w 762684"/>
                  <a:gd name="connsiteY8" fmla="*/ 823802 h 1361272"/>
                  <a:gd name="connsiteX9" fmla="*/ 0 w 762684"/>
                  <a:gd name="connsiteY9" fmla="*/ 823802 h 1361272"/>
                  <a:gd name="connsiteX10" fmla="*/ 334092 w 762684"/>
                  <a:gd name="connsiteY10" fmla="*/ 27259 h 1361272"/>
                  <a:gd name="connsiteX11" fmla="*/ 381342 w 762684"/>
                  <a:gd name="connsiteY11" fmla="*/ 18 h 1361272"/>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6750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684" h="1361254">
                    <a:moveTo>
                      <a:pt x="381342" y="0"/>
                    </a:moveTo>
                    <a:cubicBezTo>
                      <a:pt x="395908" y="1387"/>
                      <a:pt x="412184" y="3630"/>
                      <a:pt x="426750" y="27240"/>
                    </a:cubicBezTo>
                    <a:lnTo>
                      <a:pt x="762684" y="823784"/>
                    </a:lnTo>
                    <a:lnTo>
                      <a:pt x="459602" y="823784"/>
                    </a:lnTo>
                    <a:cubicBezTo>
                      <a:pt x="459602" y="976854"/>
                      <a:pt x="459601" y="1129924"/>
                      <a:pt x="459601" y="1282994"/>
                    </a:cubicBezTo>
                    <a:cubicBezTo>
                      <a:pt x="459601" y="1326216"/>
                      <a:pt x="424563" y="1361254"/>
                      <a:pt x="381341" y="1361254"/>
                    </a:cubicBezTo>
                    <a:lnTo>
                      <a:pt x="381342" y="1361253"/>
                    </a:lnTo>
                    <a:cubicBezTo>
                      <a:pt x="338120" y="1361253"/>
                      <a:pt x="303082" y="1326215"/>
                      <a:pt x="303082" y="1282993"/>
                    </a:cubicBezTo>
                    <a:lnTo>
                      <a:pt x="303082" y="823784"/>
                    </a:lnTo>
                    <a:lnTo>
                      <a:pt x="0" y="823784"/>
                    </a:lnTo>
                    <a:lnTo>
                      <a:pt x="334092" y="27241"/>
                    </a:lnTo>
                    <a:cubicBezTo>
                      <a:pt x="343005" y="9615"/>
                      <a:pt x="366447" y="533"/>
                      <a:pt x="381342" y="0"/>
                    </a:cubicBezTo>
                    <a:close/>
                  </a:path>
                </a:pathLst>
              </a:custGeom>
              <a:solidFill>
                <a:schemeClr val="bg1"/>
              </a:solidFill>
              <a:ln w="952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solidFill>
                    <a:schemeClr val="tx1"/>
                  </a:solidFill>
                </a:endParaRPr>
              </a:p>
            </p:txBody>
          </p:sp>
        </p:grpSp>
      </p:grpSp>
      <p:grpSp>
        <p:nvGrpSpPr>
          <p:cNvPr id="10" name="Group 9">
            <a:extLst>
              <a:ext uri="{FF2B5EF4-FFF2-40B4-BE49-F238E27FC236}">
                <a16:creationId xmlns:a16="http://schemas.microsoft.com/office/drawing/2014/main" id="{0FDA3990-4029-5D02-93F9-4D4934249DA3}"/>
              </a:ext>
            </a:extLst>
          </p:cNvPr>
          <p:cNvGrpSpPr>
            <a:grpSpLocks/>
          </p:cNvGrpSpPr>
          <p:nvPr userDrawn="1"/>
        </p:nvGrpSpPr>
        <p:grpSpPr>
          <a:xfrm>
            <a:off x="3883362" y="937237"/>
            <a:ext cx="1415617" cy="2501137"/>
            <a:chOff x="5094434" y="1249650"/>
            <a:chExt cx="1887489" cy="3334849"/>
          </a:xfrm>
        </p:grpSpPr>
        <p:sp>
          <p:nvSpPr>
            <p:cNvPr id="11" name="Text Box 48"/>
            <p:cNvSpPr txBox="1">
              <a:spLocks noChangeArrowheads="1"/>
            </p:cNvSpPr>
            <p:nvPr userDrawn="1"/>
          </p:nvSpPr>
          <p:spPr bwMode="auto">
            <a:xfrm>
              <a:off x="5094434" y="3729565"/>
              <a:ext cx="1887489" cy="854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450"/>
                </a:spcAft>
                <a:defRPr/>
              </a:pPr>
              <a:r>
                <a:rPr lang="da-DK" sz="750" b="1" noProof="1">
                  <a:solidFill>
                    <a:schemeClr val="tx1"/>
                  </a:solidFill>
                  <a:latin typeface="+mn-lt"/>
                  <a:cs typeface="Arial" panose="020B0604020202020204" pitchFamily="34" charset="0"/>
                </a:rPr>
                <a:t>Billedstørrelser og -kvalitet</a:t>
              </a:r>
            </a:p>
            <a:p>
              <a:pPr eaLnBrk="1" hangingPunct="1">
                <a:lnSpc>
                  <a:spcPct val="100000"/>
                </a:lnSpc>
                <a:spcAft>
                  <a:spcPts val="450"/>
                </a:spcAft>
                <a:defRPr/>
              </a:pPr>
              <a:r>
                <a:rPr lang="da-DK" sz="600" b="0" kern="1200" noProof="1">
                  <a:solidFill>
                    <a:schemeClr val="tx1"/>
                  </a:solidFill>
                  <a:latin typeface="Arial" charset="0"/>
                  <a:ea typeface="+mn-ea"/>
                  <a:cs typeface="Arial" panose="020B0604020202020204" pitchFamily="34" charset="0"/>
                </a:rPr>
                <a:t>Sørg</a:t>
              </a:r>
              <a:r>
                <a:rPr lang="da-DK" sz="600" b="0" kern="1200" baseline="0" noProof="1">
                  <a:solidFill>
                    <a:schemeClr val="tx1"/>
                  </a:solidFill>
                  <a:latin typeface="Arial" charset="0"/>
                  <a:ea typeface="+mn-ea"/>
                  <a:cs typeface="Arial" panose="020B0604020202020204" pitchFamily="34" charset="0"/>
                </a:rPr>
                <a:t> for at bruge billeder i god kvalitet. Undgå at skalere små billeder op, så de bliver uskarpe.Brug aldrig billeder, som du ikke har rettigheder til.</a:t>
              </a:r>
            </a:p>
          </p:txBody>
        </p:sp>
        <p:sp>
          <p:nvSpPr>
            <p:cNvPr id="23" name="Text Box 48"/>
            <p:cNvSpPr txBox="1">
              <a:spLocks noChangeArrowheads="1"/>
            </p:cNvSpPr>
            <p:nvPr userDrawn="1"/>
          </p:nvSpPr>
          <p:spPr bwMode="auto">
            <a:xfrm>
              <a:off x="5094434" y="1318393"/>
              <a:ext cx="1733586" cy="2428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450"/>
                </a:spcAft>
                <a:defRPr/>
              </a:pPr>
              <a:r>
                <a:rPr lang="da-DK" sz="750" b="1" noProof="1">
                  <a:solidFill>
                    <a:schemeClr val="tx1"/>
                  </a:solidFill>
                  <a:latin typeface="+mn-lt"/>
                  <a:cs typeface="Arial" panose="020B0604020202020204" pitchFamily="34" charset="0"/>
                </a:rPr>
                <a:t>Indsæt billede</a:t>
              </a:r>
            </a:p>
            <a:p>
              <a:pPr marL="0" marR="0" lvl="0" indent="0" algn="l" defTabSz="818672" rtl="0" eaLnBrk="1" fontAlgn="auto" latinLnBrk="0" hangingPunct="1">
                <a:lnSpc>
                  <a:spcPct val="100000"/>
                </a:lnSpc>
                <a:spcBef>
                  <a:spcPts val="0"/>
                </a:spcBef>
                <a:spcAft>
                  <a:spcPts val="450"/>
                </a:spcAft>
                <a:buClrTx/>
                <a:buSzTx/>
                <a:buFontTx/>
                <a:buNone/>
                <a:tabLst/>
                <a:defRPr/>
              </a:pPr>
              <a:r>
                <a:rPr lang="da-DK" sz="600" b="0" kern="1200" noProof="1">
                  <a:solidFill>
                    <a:schemeClr val="tx1"/>
                  </a:solidFill>
                  <a:latin typeface="Arial" charset="0"/>
                  <a:ea typeface="+mn-ea"/>
                  <a:cs typeface="Arial" panose="020B0604020202020204" pitchFamily="34" charset="0"/>
                </a:rPr>
                <a:t>På slides med billedholder: Klik på ikon og vælg </a:t>
              </a:r>
              <a:r>
                <a:rPr lang="da-DK" sz="600" b="1" kern="1200" noProof="1">
                  <a:solidFill>
                    <a:schemeClr val="tx1"/>
                  </a:solidFill>
                  <a:latin typeface="Arial" charset="0"/>
                  <a:ea typeface="+mn-ea"/>
                  <a:cs typeface="Arial" panose="020B0604020202020204" pitchFamily="34" charset="0"/>
                </a:rPr>
                <a:t>Indsæt</a:t>
              </a:r>
            </a:p>
            <a:p>
              <a:pPr marL="0" marR="0" lvl="0" indent="0" algn="l" defTabSz="818672" rtl="0" eaLnBrk="1" fontAlgn="auto" latinLnBrk="0" hangingPunct="1">
                <a:lnSpc>
                  <a:spcPct val="100000"/>
                </a:lnSpc>
                <a:spcBef>
                  <a:spcPts val="0"/>
                </a:spcBef>
                <a:spcAft>
                  <a:spcPts val="450"/>
                </a:spcAft>
                <a:buClrTx/>
                <a:buSzTx/>
                <a:buFontTx/>
                <a:buNone/>
                <a:tabLst/>
                <a:defRPr/>
              </a:pPr>
              <a:r>
                <a:rPr lang="da-DK" sz="600" b="0" i="1" kern="1200" noProof="1">
                  <a:solidFill>
                    <a:schemeClr val="tx1"/>
                  </a:solidFill>
                  <a:latin typeface="Arial" charset="0"/>
                  <a:ea typeface="+mn-ea"/>
                  <a:cs typeface="Arial" panose="020B0604020202020204" pitchFamily="34" charset="0"/>
                </a:rPr>
                <a:t>Teksten ”Klik her, hvis du vil udskifte billedet” bliver ikke vist i din præsentation.  </a:t>
              </a:r>
            </a:p>
            <a:p>
              <a:pPr marL="0" marR="0" lvl="0" indent="0" algn="l" defTabSz="818672" rtl="0" eaLnBrk="1" fontAlgn="auto" latinLnBrk="0" hangingPunct="1">
                <a:lnSpc>
                  <a:spcPct val="100000"/>
                </a:lnSpc>
                <a:spcBef>
                  <a:spcPts val="0"/>
                </a:spcBef>
                <a:spcAft>
                  <a:spcPts val="450"/>
                </a:spcAft>
                <a:buClrTx/>
                <a:buSzTx/>
                <a:buFontTx/>
                <a:buNone/>
                <a:tabLst/>
                <a:defRPr/>
              </a:pPr>
              <a:r>
                <a:rPr lang="da-DK" sz="600" b="0" kern="1200" baseline="0" noProof="1">
                  <a:solidFill>
                    <a:schemeClr val="tx1"/>
                  </a:solidFill>
                  <a:latin typeface="Arial" charset="0"/>
                  <a:ea typeface="+mn-ea"/>
                  <a:cs typeface="Arial" panose="020B0604020202020204" pitchFamily="34" charset="0"/>
                </a:rPr>
                <a:t>I vores billeddatabase findes gratis billedmateriale. Her kan du søge og downloade højkvalitetsbilleder fra SDFI. </a:t>
              </a:r>
            </a:p>
            <a:p>
              <a:pPr eaLnBrk="1" hangingPunct="1">
                <a:spcAft>
                  <a:spcPts val="450"/>
                </a:spcAft>
                <a:defRPr/>
              </a:pPr>
              <a:r>
                <a:rPr lang="da-DK" sz="600" b="0" i="1" kern="1200" noProof="1">
                  <a:solidFill>
                    <a:schemeClr val="tx1"/>
                  </a:solidFill>
                  <a:latin typeface="Arial" charset="0"/>
                  <a:ea typeface="+mn-ea"/>
                  <a:cs typeface="Arial" panose="020B0604020202020204" pitchFamily="34" charset="0"/>
                </a:rPr>
                <a:t>Vælg slideshow-visning for at gøre linket aktivt</a:t>
              </a:r>
            </a:p>
            <a:p>
              <a:pPr eaLnBrk="1" hangingPunct="1">
                <a:spcAft>
                  <a:spcPts val="450"/>
                </a:spcAft>
                <a:defRPr/>
              </a:pPr>
              <a:r>
                <a:rPr lang="da-DK" sz="600" b="0" i="0" kern="1200" baseline="0" noProof="1">
                  <a:solidFill>
                    <a:schemeClr val="tx1"/>
                  </a:solidFill>
                  <a:effectLst/>
                  <a:latin typeface="Arial" charset="0"/>
                  <a:ea typeface="+mn-ea"/>
                  <a:cs typeface="Arial" panose="020B0604020202020204" pitchFamily="34" charset="0"/>
                </a:rPr>
                <a:t>Hvis du ikke har adgang eller er i tvivl om rettighederne til et billede, så kontakt kommunikationsteamet.</a:t>
              </a:r>
              <a:endParaRPr lang="da-DK" sz="600" i="0" kern="1200" baseline="0" dirty="0">
                <a:solidFill>
                  <a:schemeClr val="tx1"/>
                </a:solidFill>
                <a:effectLst/>
                <a:latin typeface="Arial" charset="0"/>
                <a:ea typeface="Arial" panose="020B0604020202020204" pitchFamily="34" charset="0"/>
                <a:cs typeface="Arial" panose="020B0604020202020204" pitchFamily="34" charset="0"/>
              </a:endParaRPr>
            </a:p>
          </p:txBody>
        </p:sp>
        <p:pic>
          <p:nvPicPr>
            <p:cNvPr id="24" name="Billede 25"/>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944438" y="1249650"/>
              <a:ext cx="257327" cy="275280"/>
            </a:xfrm>
            <a:prstGeom prst="rect">
              <a:avLst/>
            </a:prstGeom>
          </p:spPr>
        </p:pic>
      </p:grpSp>
      <p:grpSp>
        <p:nvGrpSpPr>
          <p:cNvPr id="5" name="Group 4">
            <a:extLst>
              <a:ext uri="{FF2B5EF4-FFF2-40B4-BE49-F238E27FC236}">
                <a16:creationId xmlns:a16="http://schemas.microsoft.com/office/drawing/2014/main" id="{EBB8CD87-AB10-FB22-FA35-921FB24C0E89}"/>
              </a:ext>
            </a:extLst>
          </p:cNvPr>
          <p:cNvGrpSpPr/>
          <p:nvPr userDrawn="1"/>
        </p:nvGrpSpPr>
        <p:grpSpPr>
          <a:xfrm>
            <a:off x="7119354" y="978081"/>
            <a:ext cx="1538029" cy="3201613"/>
            <a:chOff x="9492471" y="1304108"/>
            <a:chExt cx="2050705" cy="4268817"/>
          </a:xfrm>
        </p:grpSpPr>
        <p:sp>
          <p:nvSpPr>
            <p:cNvPr id="34" name="Text Box 48"/>
            <p:cNvSpPr txBox="1">
              <a:spLocks noChangeArrowheads="1"/>
            </p:cNvSpPr>
            <p:nvPr userDrawn="1"/>
          </p:nvSpPr>
          <p:spPr bwMode="auto">
            <a:xfrm>
              <a:off x="9492471" y="1304108"/>
              <a:ext cx="2050705" cy="1880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818672" rtl="0" eaLnBrk="1" fontAlgn="auto" latinLnBrk="0" hangingPunct="1">
                <a:lnSpc>
                  <a:spcPct val="100000"/>
                </a:lnSpc>
                <a:spcBef>
                  <a:spcPts val="0"/>
                </a:spcBef>
                <a:spcAft>
                  <a:spcPts val="450"/>
                </a:spcAft>
                <a:buClrTx/>
                <a:buSzTx/>
                <a:buFontTx/>
                <a:buNone/>
                <a:tabLst/>
                <a:defRPr/>
              </a:pPr>
              <a:r>
                <a:rPr lang="da-DK" sz="750" b="1" kern="1200" baseline="0" noProof="1">
                  <a:solidFill>
                    <a:schemeClr val="tx1"/>
                  </a:solidFill>
                  <a:latin typeface="Arial" charset="0"/>
                  <a:ea typeface="+mn-ea"/>
                  <a:cs typeface="Arial" panose="020B0604020202020204" pitchFamily="34" charset="0"/>
                </a:rPr>
                <a:t>Sorte ”kasser” ved eksportering til PDF</a:t>
              </a:r>
            </a:p>
            <a:p>
              <a:pPr marL="0" marR="0" lvl="0" indent="0" algn="l" defTabSz="818672" rtl="0" eaLnBrk="1" fontAlgn="auto" latinLnBrk="0" hangingPunct="1">
                <a:lnSpc>
                  <a:spcPct val="100000"/>
                </a:lnSpc>
                <a:spcBef>
                  <a:spcPts val="0"/>
                </a:spcBef>
                <a:spcAft>
                  <a:spcPts val="450"/>
                </a:spcAft>
                <a:buClrTx/>
                <a:buSzTx/>
                <a:buFontTx/>
                <a:buNone/>
                <a:tabLst/>
                <a:defRPr/>
              </a:pPr>
              <a:r>
                <a:rPr lang="da-DK" sz="600" b="0" kern="1200" baseline="0" noProof="1">
                  <a:solidFill>
                    <a:schemeClr val="tx1"/>
                  </a:solidFill>
                  <a:latin typeface="Arial" charset="0"/>
                  <a:ea typeface="+mn-ea"/>
                  <a:cs typeface="Arial" panose="020B0604020202020204" pitchFamily="34" charset="0"/>
                </a:rPr>
                <a:t>Mange har oplevet sorte ”kasser” rundt om blandt andet logoer, ikoner og andet grafik.</a:t>
              </a:r>
            </a:p>
            <a:p>
              <a:pPr marL="0" marR="0" lvl="0" indent="0" algn="l" defTabSz="818672" rtl="0" eaLnBrk="1" fontAlgn="auto" latinLnBrk="0" hangingPunct="1">
                <a:lnSpc>
                  <a:spcPct val="100000"/>
                </a:lnSpc>
                <a:spcBef>
                  <a:spcPts val="0"/>
                </a:spcBef>
                <a:spcAft>
                  <a:spcPts val="450"/>
                </a:spcAft>
                <a:buClrTx/>
                <a:buSzTx/>
                <a:buFontTx/>
                <a:buNone/>
                <a:tabLst/>
                <a:defRPr/>
              </a:pPr>
              <a:r>
                <a:rPr lang="da-DK" sz="600" b="0" kern="1200" baseline="0" noProof="1">
                  <a:solidFill>
                    <a:schemeClr val="tx1"/>
                  </a:solidFill>
                  <a:latin typeface="Arial" charset="0"/>
                  <a:ea typeface="+mn-ea"/>
                  <a:cs typeface="Arial" panose="020B0604020202020204" pitchFamily="34" charset="0"/>
                </a:rPr>
                <a:t>Dette kan løses ved at fjerne fluebenet i ”PDF/A compliant” i eksporteringsprocessen:</a:t>
              </a:r>
            </a:p>
            <a:p>
              <a:pPr marL="0" marR="0" lvl="0" indent="0" algn="l" defTabSz="818672" rtl="0" eaLnBrk="1" fontAlgn="auto" latinLnBrk="0" hangingPunct="1">
                <a:lnSpc>
                  <a:spcPct val="100000"/>
                </a:lnSpc>
                <a:spcBef>
                  <a:spcPts val="0"/>
                </a:spcBef>
                <a:spcAft>
                  <a:spcPts val="450"/>
                </a:spcAft>
                <a:buClrTx/>
                <a:buSzTx/>
                <a:buFontTx/>
                <a:buNone/>
                <a:tabLst/>
                <a:defRPr/>
              </a:pPr>
              <a:r>
                <a:rPr lang="da-DK" sz="600" b="1" kern="1200" baseline="0" noProof="1">
                  <a:solidFill>
                    <a:schemeClr val="tx1"/>
                  </a:solidFill>
                  <a:latin typeface="Arial" charset="0"/>
                  <a:ea typeface="+mn-ea"/>
                  <a:cs typeface="Arial" panose="020B0604020202020204" pitchFamily="34" charset="0"/>
                </a:rPr>
                <a:t>Filer – Eksportér – Opret PDF – Indstillinger </a:t>
              </a:r>
            </a:p>
            <a:p>
              <a:pPr marL="0" marR="0" lvl="0" indent="0" algn="l" defTabSz="818672" rtl="0" eaLnBrk="1" fontAlgn="auto" latinLnBrk="0" hangingPunct="1">
                <a:lnSpc>
                  <a:spcPct val="100000"/>
                </a:lnSpc>
                <a:spcBef>
                  <a:spcPts val="0"/>
                </a:spcBef>
                <a:spcAft>
                  <a:spcPts val="450"/>
                </a:spcAft>
                <a:buClrTx/>
                <a:buSzTx/>
                <a:buFontTx/>
                <a:buNone/>
                <a:tabLst/>
                <a:defRPr/>
              </a:pPr>
              <a:r>
                <a:rPr lang="da-DK" sz="600" b="0" kern="1200" baseline="0" noProof="1">
                  <a:solidFill>
                    <a:schemeClr val="tx1"/>
                  </a:solidFill>
                  <a:latin typeface="Arial" charset="0"/>
                  <a:ea typeface="+mn-ea"/>
                  <a:cs typeface="Arial" panose="020B0604020202020204" pitchFamily="34" charset="0"/>
                </a:rPr>
                <a:t>Fravælg boksen “ISO 19005-1-kompatibelt (PDF/A)“</a:t>
              </a:r>
            </a:p>
          </p:txBody>
        </p:sp>
        <p:pic>
          <p:nvPicPr>
            <p:cNvPr id="35" name="Billede 3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492472" y="3318088"/>
              <a:ext cx="1953500" cy="2254837"/>
            </a:xfrm>
            <a:prstGeom prst="rect">
              <a:avLst/>
            </a:prstGeom>
          </p:spPr>
        </p:pic>
        <p:sp>
          <p:nvSpPr>
            <p:cNvPr id="36" name="Rektangel 35"/>
            <p:cNvSpPr/>
            <p:nvPr userDrawn="1"/>
          </p:nvSpPr>
          <p:spPr>
            <a:xfrm>
              <a:off x="9510767" y="5130898"/>
              <a:ext cx="1312437" cy="1415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grpSp>
      <p:grpSp>
        <p:nvGrpSpPr>
          <p:cNvPr id="14" name="Group 13">
            <a:extLst>
              <a:ext uri="{FF2B5EF4-FFF2-40B4-BE49-F238E27FC236}">
                <a16:creationId xmlns:a16="http://schemas.microsoft.com/office/drawing/2014/main" id="{FE9E7F4D-ADBB-C536-1143-5EE932DA2F50}"/>
              </a:ext>
            </a:extLst>
          </p:cNvPr>
          <p:cNvGrpSpPr>
            <a:grpSpLocks/>
          </p:cNvGrpSpPr>
          <p:nvPr userDrawn="1"/>
        </p:nvGrpSpPr>
        <p:grpSpPr>
          <a:xfrm>
            <a:off x="2267392" y="988794"/>
            <a:ext cx="1411295" cy="3273839"/>
            <a:chOff x="2867314" y="1318392"/>
            <a:chExt cx="1881726" cy="4365119"/>
          </a:xfrm>
        </p:grpSpPr>
        <p:pic>
          <p:nvPicPr>
            <p:cNvPr id="6" name="Billede 40"/>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3826412" y="1318392"/>
              <a:ext cx="395416" cy="126627"/>
            </a:xfrm>
            <a:prstGeom prst="rect">
              <a:avLst/>
            </a:prstGeom>
          </p:spPr>
        </p:pic>
        <p:sp>
          <p:nvSpPr>
            <p:cNvPr id="7" name="Text Box 48"/>
            <p:cNvSpPr txBox="1">
              <a:spLocks noChangeArrowheads="1"/>
            </p:cNvSpPr>
            <p:nvPr userDrawn="1"/>
          </p:nvSpPr>
          <p:spPr bwMode="auto">
            <a:xfrm>
              <a:off x="2939321" y="1321505"/>
              <a:ext cx="1660227" cy="81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450"/>
                </a:spcAft>
                <a:defRPr/>
              </a:pPr>
              <a:r>
                <a:rPr lang="da-DK" sz="750" b="1" noProof="1">
                  <a:solidFill>
                    <a:schemeClr val="tx1"/>
                  </a:solidFill>
                  <a:latin typeface="+mn-lt"/>
                  <a:cs typeface="Arial" panose="020B0604020202020204" pitchFamily="34" charset="0"/>
                </a:rPr>
                <a:t>Slidetype</a:t>
              </a:r>
            </a:p>
            <a:p>
              <a:pPr eaLnBrk="1" hangingPunct="1">
                <a:spcAft>
                  <a:spcPts val="450"/>
                </a:spcAft>
                <a:defRPr/>
              </a:pPr>
              <a:r>
                <a:rPr lang="da-DK" altLang="da-DK" sz="600" b="1" noProof="1">
                  <a:solidFill>
                    <a:schemeClr val="tx1"/>
                  </a:solidFill>
                  <a:latin typeface="+mn-lt"/>
                  <a:cs typeface="Arial" panose="020B0604020202020204" pitchFamily="34" charset="0"/>
                </a:rPr>
                <a:t>1. </a:t>
              </a:r>
              <a:r>
                <a:rPr lang="da-DK" altLang="da-DK" sz="600" noProof="1">
                  <a:solidFill>
                    <a:schemeClr val="tx1"/>
                  </a:solidFill>
                  <a:latin typeface="+mn-lt"/>
                  <a:cs typeface="Arial" panose="020B0604020202020204" pitchFamily="34" charset="0"/>
                </a:rPr>
                <a:t>Klik på </a:t>
              </a:r>
              <a:r>
                <a:rPr lang="da-DK" altLang="da-DK" sz="600" b="1" noProof="1">
                  <a:solidFill>
                    <a:schemeClr val="tx1"/>
                  </a:solidFill>
                  <a:latin typeface="+mn-lt"/>
                  <a:cs typeface="Arial" panose="020B0604020202020204" pitchFamily="34" charset="0"/>
                </a:rPr>
                <a:t>Startside/Hjem</a:t>
              </a:r>
            </a:p>
            <a:p>
              <a:pPr eaLnBrk="1" hangingPunct="1">
                <a:spcAft>
                  <a:spcPts val="450"/>
                </a:spcAft>
                <a:defRPr/>
              </a:pPr>
              <a:r>
                <a:rPr lang="da-DK" altLang="da-DK" sz="600" b="1" noProof="1">
                  <a:solidFill>
                    <a:schemeClr val="tx1"/>
                  </a:solidFill>
                  <a:latin typeface="+mn-lt"/>
                  <a:cs typeface="Arial" panose="020B0604020202020204" pitchFamily="34" charset="0"/>
                </a:rPr>
                <a:t>2.</a:t>
              </a:r>
              <a:r>
                <a:rPr lang="da-DK" altLang="da-DK" sz="600" b="1" baseline="0" noProof="1">
                  <a:solidFill>
                    <a:schemeClr val="tx1"/>
                  </a:solidFill>
                  <a:latin typeface="+mn-lt"/>
                  <a:cs typeface="Arial" panose="020B0604020202020204" pitchFamily="34" charset="0"/>
                </a:rPr>
                <a:t> </a:t>
              </a:r>
              <a:r>
                <a:rPr lang="da-DK" altLang="da-DK" sz="600" baseline="0" noProof="1">
                  <a:solidFill>
                    <a:schemeClr val="tx1"/>
                  </a:solidFill>
                  <a:latin typeface="+mn-lt"/>
                  <a:cs typeface="Arial" panose="020B0604020202020204" pitchFamily="34" charset="0"/>
                </a:rPr>
                <a:t>Vælg </a:t>
              </a:r>
              <a:r>
                <a:rPr lang="da-DK" altLang="da-DK" sz="600" b="1" baseline="0" noProof="1">
                  <a:solidFill>
                    <a:schemeClr val="tx1"/>
                  </a:solidFill>
                  <a:latin typeface="+mn-lt"/>
                  <a:cs typeface="Arial" panose="020B0604020202020204" pitchFamily="34" charset="0"/>
                </a:rPr>
                <a:t>Layout</a:t>
              </a:r>
              <a:r>
                <a:rPr lang="da-DK" altLang="da-DK" sz="600" baseline="0" noProof="1">
                  <a:solidFill>
                    <a:schemeClr val="tx1"/>
                  </a:solidFill>
                  <a:latin typeface="+mn-lt"/>
                  <a:cs typeface="Arial" panose="020B0604020202020204" pitchFamily="34" charset="0"/>
                </a:rPr>
                <a:t> for at ændre dit nuværende dias/slide til et alternativt layout</a:t>
              </a:r>
            </a:p>
          </p:txBody>
        </p:sp>
        <p:sp>
          <p:nvSpPr>
            <p:cNvPr id="8" name="Text Box 48"/>
            <p:cNvSpPr txBox="1">
              <a:spLocks noChangeArrowheads="1"/>
            </p:cNvSpPr>
            <p:nvPr userDrawn="1"/>
          </p:nvSpPr>
          <p:spPr bwMode="auto">
            <a:xfrm>
              <a:off x="2945221" y="2268649"/>
              <a:ext cx="1634623" cy="48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450"/>
                </a:spcAft>
                <a:defRPr/>
              </a:pPr>
              <a:r>
                <a:rPr lang="da-DK" sz="750" b="1" noProof="1">
                  <a:solidFill>
                    <a:schemeClr val="tx1"/>
                  </a:solidFill>
                  <a:latin typeface="+mn-lt"/>
                  <a:cs typeface="Arial" panose="020B0604020202020204" pitchFamily="34" charset="0"/>
                </a:rPr>
                <a:t>Skrift</a:t>
              </a:r>
            </a:p>
            <a:p>
              <a:pPr eaLnBrk="1" hangingPunct="1">
                <a:spcAft>
                  <a:spcPts val="450"/>
                </a:spcAft>
                <a:defRPr/>
              </a:pPr>
              <a:r>
                <a:rPr lang="da-DK" sz="600" b="0" noProof="1">
                  <a:solidFill>
                    <a:schemeClr val="tx1"/>
                  </a:solidFill>
                  <a:latin typeface="+mn-lt"/>
                  <a:cs typeface="Arial" panose="020B0604020202020204" pitchFamily="34" charset="0"/>
                </a:rPr>
                <a:t>SDFI</a:t>
              </a:r>
              <a:r>
                <a:rPr lang="da-DK" altLang="da-DK" sz="600" b="0" noProof="1">
                  <a:solidFill>
                    <a:schemeClr val="tx1"/>
                  </a:solidFill>
                  <a:latin typeface="+mn-lt"/>
                  <a:cs typeface="Arial" panose="020B0604020202020204" pitchFamily="34" charset="0"/>
                </a:rPr>
                <a:t> anvender skrifttypen Arial i PowerPoint.</a:t>
              </a:r>
            </a:p>
          </p:txBody>
        </p:sp>
        <p:sp>
          <p:nvSpPr>
            <p:cNvPr id="13" name="Text Box 48"/>
            <p:cNvSpPr txBox="1">
              <a:spLocks noChangeArrowheads="1"/>
            </p:cNvSpPr>
            <p:nvPr userDrawn="1"/>
          </p:nvSpPr>
          <p:spPr bwMode="auto">
            <a:xfrm>
              <a:off x="2964925" y="4982464"/>
              <a:ext cx="1784115" cy="701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450"/>
                </a:spcAft>
                <a:defRPr/>
              </a:pPr>
              <a:r>
                <a:rPr lang="da-DK" sz="600" b="0" noProof="1">
                  <a:solidFill>
                    <a:schemeClr val="tx1"/>
                  </a:solidFill>
                  <a:latin typeface="Arial" panose="020B0604020202020204" pitchFamily="34" charset="0"/>
                  <a:cs typeface="Arial" panose="020B0604020202020204" pitchFamily="34" charset="0"/>
                </a:rPr>
                <a:t>Du kan vælge mellem en række farver til baggrunde og grafer.</a:t>
              </a:r>
            </a:p>
            <a:p>
              <a:pPr eaLnBrk="1" hangingPunct="1">
                <a:lnSpc>
                  <a:spcPct val="100000"/>
                </a:lnSpc>
                <a:spcAft>
                  <a:spcPts val="450"/>
                </a:spcAft>
                <a:defRPr/>
              </a:pPr>
              <a:r>
                <a:rPr lang="da-DK" sz="600" b="0" noProof="1">
                  <a:solidFill>
                    <a:schemeClr val="tx1"/>
                  </a:solidFill>
                  <a:latin typeface="Arial" panose="020B0604020202020204" pitchFamily="34" charset="0"/>
                  <a:cs typeface="Arial" panose="020B0604020202020204" pitchFamily="34" charset="0"/>
                </a:rPr>
                <a:t>Højreklik på den flade, du vil skifte farve på, og derefter malerbøtte-ikonet (Fyldfarve til figur)</a:t>
              </a:r>
            </a:p>
          </p:txBody>
        </p:sp>
        <p:sp>
          <p:nvSpPr>
            <p:cNvPr id="25"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2945222" y="3028889"/>
              <a:ext cx="1803818" cy="81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da-DK" sz="750" b="1" dirty="0">
                  <a:solidFill>
                    <a:schemeClr val="tx1"/>
                  </a:solidFill>
                  <a:latin typeface="Arial" panose="020B0604020202020204" pitchFamily="34" charset="0"/>
                  <a:cs typeface="Arial" panose="020B0604020202020204" pitchFamily="34" charset="0"/>
                </a:rPr>
                <a:t>Farver</a:t>
              </a:r>
            </a:p>
            <a:p>
              <a:pPr marL="0" marR="0" lvl="0" indent="0" algn="l" defTabSz="685800" rtl="0" eaLnBrk="1" fontAlgn="auto" latinLnBrk="0" hangingPunct="1">
                <a:lnSpc>
                  <a:spcPct val="100000"/>
                </a:lnSpc>
                <a:spcBef>
                  <a:spcPts val="0"/>
                </a:spcBef>
                <a:spcAft>
                  <a:spcPts val="450"/>
                </a:spcAft>
                <a:buClrTx/>
                <a:buSzTx/>
                <a:buFontTx/>
                <a:buNone/>
                <a:tabLst/>
                <a:defRPr/>
              </a:pPr>
              <a:r>
                <a:rPr lang="da-DK" altLang="da-DK" sz="600" b="0" kern="1200" noProof="1">
                  <a:solidFill>
                    <a:schemeClr val="tx1"/>
                  </a:solidFill>
                  <a:latin typeface="Arial" panose="020B0604020202020204" pitchFamily="34" charset="0"/>
                  <a:ea typeface="+mn-ea"/>
                  <a:cs typeface="Arial" panose="020B0604020202020204" pitchFamily="34" charset="0"/>
                </a:rPr>
                <a:t>De øverster farver i farvetemaet, </a:t>
              </a:r>
              <a:br>
                <a:rPr lang="da-DK" altLang="da-DK" sz="600" b="0" kern="1200" noProof="1">
                  <a:solidFill>
                    <a:schemeClr val="tx1"/>
                  </a:solidFill>
                  <a:latin typeface="Arial" panose="020B0604020202020204" pitchFamily="34" charset="0"/>
                  <a:ea typeface="+mn-ea"/>
                  <a:cs typeface="Arial" panose="020B0604020202020204" pitchFamily="34" charset="0"/>
                </a:rPr>
              </a:br>
              <a:r>
                <a:rPr lang="da-DK" altLang="da-DK" sz="600" b="0" kern="1200" noProof="1">
                  <a:solidFill>
                    <a:schemeClr val="tx1"/>
                  </a:solidFill>
                  <a:latin typeface="Arial" panose="020B0604020202020204" pitchFamily="34" charset="0"/>
                  <a:ea typeface="+mn-ea"/>
                  <a:cs typeface="Arial" panose="020B0604020202020204" pitchFamily="34" charset="0"/>
                </a:rPr>
                <a:t>er hovedfarver, de andre </a:t>
              </a:r>
              <a:br>
                <a:rPr lang="da-DK" altLang="da-DK" sz="600" b="0" kern="1200" noProof="1">
                  <a:solidFill>
                    <a:schemeClr val="tx1"/>
                  </a:solidFill>
                  <a:latin typeface="Arial" panose="020B0604020202020204" pitchFamily="34" charset="0"/>
                  <a:ea typeface="+mn-ea"/>
                  <a:cs typeface="Arial" panose="020B0604020202020204" pitchFamily="34" charset="0"/>
                </a:rPr>
              </a:br>
              <a:r>
                <a:rPr lang="da-DK" altLang="da-DK" sz="600" b="0" kern="1200" noProof="1">
                  <a:solidFill>
                    <a:schemeClr val="tx1"/>
                  </a:solidFill>
                  <a:latin typeface="Arial" panose="020B0604020202020204" pitchFamily="34" charset="0"/>
                  <a:ea typeface="+mn-ea"/>
                  <a:cs typeface="Arial" panose="020B0604020202020204" pitchFamily="34" charset="0"/>
                </a:rPr>
                <a:t>er nuancer.</a:t>
              </a:r>
            </a:p>
            <a:p>
              <a:pPr eaLnBrk="1" hangingPunct="1">
                <a:spcAft>
                  <a:spcPts val="450"/>
                </a:spcAft>
                <a:defRPr/>
              </a:pPr>
              <a:endParaRPr lang="da-DK" altLang="da-DK" sz="600" b="1" noProof="1">
                <a:solidFill>
                  <a:schemeClr val="tx1"/>
                </a:solidFill>
                <a:latin typeface="Arial" panose="020B0604020202020204" pitchFamily="34" charset="0"/>
                <a:cs typeface="Arial" panose="020B0604020202020204" pitchFamily="34" charset="0"/>
              </a:endParaRPr>
            </a:p>
          </p:txBody>
        </p:sp>
        <p:pic>
          <p:nvPicPr>
            <p:cNvPr id="32" name="Billede 31"/>
            <p:cNvPicPr>
              <a:picLocks noChangeAspect="1"/>
            </p:cNvPicPr>
            <p:nvPr userDrawn="1"/>
          </p:nvPicPr>
          <p:blipFill>
            <a:blip r:embed="rId8">
              <a:extLst>
                <a:ext uri="{28A0092B-C50C-407E-A947-70E740481C1C}">
                  <a14:useLocalDpi xmlns:a14="http://schemas.microsoft.com/office/drawing/2010/main" val="0"/>
                </a:ext>
              </a:extLst>
            </a:blip>
            <a:srcRect t="207" b="207"/>
            <a:stretch/>
          </p:blipFill>
          <p:spPr>
            <a:xfrm>
              <a:off x="2939321" y="3777242"/>
              <a:ext cx="1551497" cy="1059837"/>
            </a:xfrm>
            <a:prstGeom prst="rect">
              <a:avLst/>
            </a:prstGeom>
          </p:spPr>
        </p:pic>
        <p:sp>
          <p:nvSpPr>
            <p:cNvPr id="37" name="Rektangel 36"/>
            <p:cNvSpPr/>
            <p:nvPr userDrawn="1"/>
          </p:nvSpPr>
          <p:spPr>
            <a:xfrm>
              <a:off x="2867314" y="3988199"/>
              <a:ext cx="1634624" cy="21615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grpSp>
    </p:spTree>
    <p:extLst>
      <p:ext uri="{BB962C8B-B14F-4D97-AF65-F5344CB8AC3E}">
        <p14:creationId xmlns:p14="http://schemas.microsoft.com/office/powerpoint/2010/main" val="163884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black">
          <a:xfrm>
            <a:off x="0" y="0"/>
            <a:ext cx="9144000" cy="51435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da-DK" sz="1050" dirty="0" err="1">
              <a:solidFill>
                <a:schemeClr val="tx1"/>
              </a:solidFill>
            </a:endParaRPr>
          </a:p>
        </p:txBody>
      </p:sp>
      <p:sp>
        <p:nvSpPr>
          <p:cNvPr id="5" name="Do not use"/>
          <p:cNvSpPr txBox="1"/>
          <p:nvPr userDrawn="1"/>
        </p:nvSpPr>
        <p:spPr bwMode="white">
          <a:xfrm>
            <a:off x="322660" y="492618"/>
            <a:ext cx="8517733"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da-DK" sz="3300" b="0" noProof="0" dirty="0">
                <a:solidFill>
                  <a:schemeClr val="bg1"/>
                </a:solidFill>
              </a:rPr>
              <a:t>Hvis du ser andre </a:t>
            </a:r>
            <a:r>
              <a:rPr lang="da-DK" sz="3300" b="1" i="1" noProof="0" dirty="0">
                <a:solidFill>
                  <a:schemeClr val="bg1"/>
                </a:solidFill>
              </a:rPr>
              <a:t>layouts efter dette,</a:t>
            </a:r>
            <a:br>
              <a:rPr lang="da-DK" sz="3300" b="0" i="0" noProof="0" dirty="0">
                <a:solidFill>
                  <a:schemeClr val="bg1"/>
                </a:solidFill>
              </a:rPr>
            </a:br>
            <a:r>
              <a:rPr lang="da-DK" sz="3300" b="0" noProof="0" dirty="0">
                <a:solidFill>
                  <a:schemeClr val="bg1"/>
                </a:solidFill>
              </a:rPr>
              <a:t>brug dem ikke. Disse layouts </a:t>
            </a:r>
            <a:r>
              <a:rPr lang="da-DK" sz="3300" b="1" i="1" u="none" noProof="0" dirty="0">
                <a:solidFill>
                  <a:schemeClr val="bg1"/>
                </a:solidFill>
              </a:rPr>
              <a:t>tilhører ikke </a:t>
            </a:r>
            <a:r>
              <a:rPr lang="da-DK" sz="3300" b="0" i="0" u="none" noProof="0" dirty="0">
                <a:solidFill>
                  <a:schemeClr val="bg1"/>
                </a:solidFill>
              </a:rPr>
              <a:t>vores </a:t>
            </a:r>
            <a:r>
              <a:rPr lang="da-DK" sz="3300" b="0" i="0" u="none" noProof="1">
                <a:solidFill>
                  <a:schemeClr val="bg1"/>
                </a:solidFill>
              </a:rPr>
              <a:t>corporate</a:t>
            </a:r>
            <a:r>
              <a:rPr lang="da-DK" sz="3300" b="0" noProof="0" dirty="0">
                <a:solidFill>
                  <a:schemeClr val="bg1"/>
                </a:solidFill>
              </a:rPr>
              <a:t>skabelon.</a:t>
            </a:r>
            <a:br>
              <a:rPr lang="da-DK" sz="2100" b="0" noProof="0" dirty="0">
                <a:solidFill>
                  <a:schemeClr val="bg1"/>
                </a:solidFill>
              </a:rPr>
            </a:br>
            <a:br>
              <a:rPr lang="da-DK" sz="2100" b="0" noProof="0" dirty="0">
                <a:solidFill>
                  <a:schemeClr val="bg1"/>
                </a:solidFill>
              </a:rPr>
            </a:br>
            <a:endParaRPr lang="da-DK" sz="21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7803656" y="2493920"/>
            <a:ext cx="777591" cy="777591"/>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da-DK" sz="105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da-DK" sz="105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354402" y="2240014"/>
            <a:ext cx="7614260" cy="1246495"/>
          </a:xfrm>
          <a:prstGeom prst="rect">
            <a:avLst/>
          </a:prstGeom>
        </p:spPr>
        <p:txBody>
          <a:bodyPr wrap="square">
            <a:spAutoFit/>
          </a:bodyPr>
          <a:lstStyle/>
          <a:p>
            <a:pPr algn="ctr"/>
            <a:r>
              <a:rPr lang="da-DK" sz="7500" b="1" i="1" noProof="0" dirty="0">
                <a:solidFill>
                  <a:schemeClr val="bg1"/>
                </a:solidFill>
              </a:rPr>
              <a:t>Brug dem ikke</a:t>
            </a:r>
            <a:endParaRPr lang="da-DK" sz="75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322660" y="3889841"/>
            <a:ext cx="8517731" cy="73353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da-DK" sz="1500" b="0" noProof="0" dirty="0">
                <a:solidFill>
                  <a:schemeClr val="bg1"/>
                </a:solidFill>
              </a:rPr>
              <a:t>Pga. PowerPoints standard Kopier/Indsæt funktionalitet kan ekstra uønskede layouts forekomme.</a:t>
            </a:r>
          </a:p>
          <a:p>
            <a:pPr marL="0" marR="0" indent="0" algn="ctr" fontAlgn="auto">
              <a:lnSpc>
                <a:spcPct val="100000"/>
              </a:lnSpc>
              <a:spcBef>
                <a:spcPts val="450"/>
              </a:spcBef>
              <a:spcAft>
                <a:spcPts val="0"/>
              </a:spcAft>
              <a:buClr>
                <a:srgbClr val="003755"/>
              </a:buClr>
              <a:buSzTx/>
              <a:buFontTx/>
              <a:buNone/>
              <a:tabLst/>
            </a:pPr>
            <a:r>
              <a:rPr lang="da-DK" sz="1500" b="0" noProof="0" dirty="0">
                <a:solidFill>
                  <a:schemeClr val="bg1"/>
                </a:solidFill>
              </a:rPr>
              <a:t>OBS! Layouts efter dette kan indeholde potential fortrolig information.</a:t>
            </a:r>
            <a:br>
              <a:rPr lang="da-DK" sz="1350" b="0" noProof="0" dirty="0">
                <a:solidFill>
                  <a:schemeClr val="bg1"/>
                </a:solidFill>
              </a:rPr>
            </a:br>
            <a:endParaRPr lang="da-DK" sz="1350" b="0" noProof="0" dirty="0">
              <a:solidFill>
                <a:schemeClr val="bg1"/>
              </a:solidFill>
            </a:endParaRPr>
          </a:p>
        </p:txBody>
      </p:sp>
      <p:sp>
        <p:nvSpPr>
          <p:cNvPr id="13" name="Date Placeholder 6" hidden="1">
            <a:extLst>
              <a:ext uri="{FF2B5EF4-FFF2-40B4-BE49-F238E27FC236}">
                <a16:creationId xmlns:a16="http://schemas.microsoft.com/office/drawing/2014/main" id="{16F02AC0-8835-4687-9809-625BC7974E07}"/>
              </a:ext>
            </a:extLst>
          </p:cNvPr>
          <p:cNvSpPr>
            <a:spLocks noGrp="1"/>
          </p:cNvSpPr>
          <p:nvPr>
            <p:ph type="dt" sz="half" idx="15"/>
          </p:nvPr>
        </p:nvSpPr>
        <p:spPr>
          <a:xfrm>
            <a:off x="0" y="5143500"/>
            <a:ext cx="0" cy="0"/>
          </a:xfrm>
        </p:spPr>
        <p:txBody>
          <a:bodyPr/>
          <a:lstStyle>
            <a:lvl1pPr>
              <a:defRPr sz="100">
                <a:noFill/>
              </a:defRPr>
            </a:lvl1pPr>
          </a:lstStyle>
          <a:p>
            <a:fld id="{9A59FDF8-2EA3-434F-B209-7FD01A5B2223}" type="datetime2">
              <a:rPr lang="da-DK" smtClean="0"/>
              <a:t>17. september 2025</a:t>
            </a:fld>
            <a:endParaRPr lang="da-DK" dirty="0"/>
          </a:p>
        </p:txBody>
      </p:sp>
      <p:sp>
        <p:nvSpPr>
          <p:cNvPr id="14" name="Footer Placeholder 8" hidden="1">
            <a:extLst>
              <a:ext uri="{FF2B5EF4-FFF2-40B4-BE49-F238E27FC236}">
                <a16:creationId xmlns:a16="http://schemas.microsoft.com/office/drawing/2014/main" id="{06D6C9CE-4F2C-454C-BB55-801B8D39FB8A}"/>
              </a:ext>
            </a:extLst>
          </p:cNvPr>
          <p:cNvSpPr>
            <a:spLocks noGrp="1"/>
          </p:cNvSpPr>
          <p:nvPr>
            <p:ph type="ftr" sz="quarter" idx="16"/>
          </p:nvPr>
        </p:nvSpPr>
        <p:spPr>
          <a:xfrm>
            <a:off x="0" y="5143500"/>
            <a:ext cx="0" cy="0"/>
          </a:xfrm>
        </p:spPr>
        <p:txBody>
          <a:bodyPr/>
          <a:lstStyle>
            <a:lvl1pPr>
              <a:defRPr sz="100">
                <a:noFill/>
              </a:defRPr>
            </a:lvl1pPr>
          </a:lstStyle>
          <a:p>
            <a:r>
              <a:rPr lang="da-DK" dirty="0"/>
              <a:t>Klimadatastyrelsen </a:t>
            </a:r>
          </a:p>
        </p:txBody>
      </p:sp>
      <p:sp>
        <p:nvSpPr>
          <p:cNvPr id="15" name="Slide Number Placeholder 10" hidden="1">
            <a:extLst>
              <a:ext uri="{FF2B5EF4-FFF2-40B4-BE49-F238E27FC236}">
                <a16:creationId xmlns:a16="http://schemas.microsoft.com/office/drawing/2014/main" id="{E475F42F-AD98-4F3B-A294-8047E72ED3B3}"/>
              </a:ext>
            </a:extLst>
          </p:cNvPr>
          <p:cNvSpPr>
            <a:spLocks noGrp="1"/>
          </p:cNvSpPr>
          <p:nvPr>
            <p:ph type="sldNum" sz="quarter" idx="17"/>
          </p:nvPr>
        </p:nvSpPr>
        <p:spPr>
          <a:xfrm>
            <a:off x="0" y="51435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4211199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Overskrift &amp; to spalter 1">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7. september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16758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330095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Ekstra forside_0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8482BEBE-FDA9-4149-8EE0-7B05DB2943CC}"/>
              </a:ext>
            </a:extLst>
          </p:cNvPr>
          <p:cNvSpPr>
            <a:spLocks noGrp="1"/>
          </p:cNvSpPr>
          <p:nvPr>
            <p:ph type="dt" sz="half" idx="2"/>
          </p:nvPr>
        </p:nvSpPr>
        <p:spPr>
          <a:xfrm>
            <a:off x="0" y="5143500"/>
            <a:ext cx="0" cy="0"/>
          </a:xfrm>
          <a:prstGeom prst="rect">
            <a:avLst/>
          </a:prstGeom>
        </p:spPr>
        <p:txBody>
          <a:bodyPr vert="horz" lIns="0" tIns="0" rIns="0" bIns="0" rtlCol="0" anchor="b" anchorCtr="0"/>
          <a:lstStyle>
            <a:lvl1pPr algn="l">
              <a:defRPr sz="100">
                <a:noFill/>
              </a:defRPr>
            </a:lvl1pPr>
          </a:lstStyle>
          <a:p>
            <a:fld id="{8E837BC1-4E68-4CF8-A085-3666E62656E6}" type="datetime2">
              <a:rPr lang="da-DK" smtClean="0"/>
              <a:t>17. september 2025</a:t>
            </a:fld>
            <a:endParaRPr lang="da-DK" dirty="0"/>
          </a:p>
        </p:txBody>
      </p:sp>
      <p:sp>
        <p:nvSpPr>
          <p:cNvPr id="16" name="Footer Placeholder 4" hidden="1">
            <a:extLst>
              <a:ext uri="{FF2B5EF4-FFF2-40B4-BE49-F238E27FC236}">
                <a16:creationId xmlns:a16="http://schemas.microsoft.com/office/drawing/2014/main" id="{1F568798-0B0B-413C-A3F1-AADE388B21F0}"/>
              </a:ext>
            </a:extLst>
          </p:cNvPr>
          <p:cNvSpPr>
            <a:spLocks noGrp="1"/>
          </p:cNvSpPr>
          <p:nvPr>
            <p:ph type="ftr" sz="quarter" idx="3"/>
          </p:nvPr>
        </p:nvSpPr>
        <p:spPr>
          <a:xfrm>
            <a:off x="0" y="5143500"/>
            <a:ext cx="0" cy="0"/>
          </a:xfrm>
          <a:prstGeom prst="rect">
            <a:avLst/>
          </a:prstGeom>
        </p:spPr>
        <p:txBody>
          <a:bodyPr vert="horz" lIns="0" tIns="0" rIns="0" bIns="0" rtlCol="0" anchor="b" anchorCtr="0"/>
          <a:lstStyle>
            <a:lvl1pPr algn="ctr">
              <a:defRPr sz="100">
                <a:noFill/>
              </a:defRPr>
            </a:lvl1pPr>
          </a:lstStyle>
          <a:p>
            <a:r>
              <a:rPr lang="da-DK"/>
              <a:t>Styrelsen for Dataforsyning og Infrastruktur</a:t>
            </a:r>
            <a:endParaRPr lang="da-DK" dirty="0"/>
          </a:p>
        </p:txBody>
      </p:sp>
      <p:sp>
        <p:nvSpPr>
          <p:cNvPr id="17" name="Slide Number Placeholder 5" hidden="1">
            <a:extLst>
              <a:ext uri="{FF2B5EF4-FFF2-40B4-BE49-F238E27FC236}">
                <a16:creationId xmlns:a16="http://schemas.microsoft.com/office/drawing/2014/main" id="{079E0CBB-1AC6-462A-B66C-A35288D14643}"/>
              </a:ext>
            </a:extLst>
          </p:cNvPr>
          <p:cNvSpPr>
            <a:spLocks noGrp="1"/>
          </p:cNvSpPr>
          <p:nvPr>
            <p:ph type="sldNum" sz="quarter" idx="4"/>
          </p:nvPr>
        </p:nvSpPr>
        <p:spPr>
          <a:xfrm flipV="1">
            <a:off x="0" y="51435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sp>
        <p:nvSpPr>
          <p:cNvPr id="6" name="Titel 1">
            <a:extLst>
              <a:ext uri="{FF2B5EF4-FFF2-40B4-BE49-F238E27FC236}">
                <a16:creationId xmlns:a16="http://schemas.microsoft.com/office/drawing/2014/main" id="{37712256-89C2-224A-ABE3-4A4D5C1D799C}"/>
              </a:ext>
            </a:extLst>
          </p:cNvPr>
          <p:cNvSpPr>
            <a:spLocks noGrp="1"/>
          </p:cNvSpPr>
          <p:nvPr>
            <p:ph type="ctrTitle" hasCustomPrompt="1"/>
          </p:nvPr>
        </p:nvSpPr>
        <p:spPr>
          <a:xfrm>
            <a:off x="467916" y="1686437"/>
            <a:ext cx="8208169" cy="1292662"/>
          </a:xfrm>
          <a:prstGeom prst="rect">
            <a:avLst/>
          </a:prstGeom>
        </p:spPr>
        <p:txBody>
          <a:bodyPr wrap="square" lIns="0" tIns="0" rIns="0" bIns="0" anchor="b" anchorCtr="0">
            <a:spAutoFit/>
          </a:bodyPr>
          <a:lstStyle>
            <a:lvl1pPr algn="l">
              <a:defRPr sz="4200" b="1" i="0">
                <a:solidFill>
                  <a:schemeClr val="bg1"/>
                </a:solidFill>
                <a:latin typeface="Arial" panose="020B0604020202020204" pitchFamily="34" charset="0"/>
                <a:cs typeface="Arial" panose="020B0604020202020204" pitchFamily="34" charset="0"/>
              </a:defRPr>
            </a:lvl1pPr>
          </a:lstStyle>
          <a:p>
            <a:r>
              <a:rPr lang="da-DK" dirty="0"/>
              <a:t>Her kan du skrive din </a:t>
            </a:r>
            <a:br>
              <a:rPr lang="da-DK" dirty="0"/>
            </a:br>
            <a:r>
              <a:rPr lang="da-DK" dirty="0"/>
              <a:t>titel i to linjer</a:t>
            </a:r>
          </a:p>
        </p:txBody>
      </p:sp>
      <p:sp>
        <p:nvSpPr>
          <p:cNvPr id="14" name="Undertitel 2">
            <a:extLst>
              <a:ext uri="{FF2B5EF4-FFF2-40B4-BE49-F238E27FC236}">
                <a16:creationId xmlns:a16="http://schemas.microsoft.com/office/drawing/2014/main" id="{1EAAA78D-12A9-4514-A3C0-6C8D958D92BB}"/>
              </a:ext>
            </a:extLst>
          </p:cNvPr>
          <p:cNvSpPr>
            <a:spLocks noGrp="1"/>
          </p:cNvSpPr>
          <p:nvPr>
            <p:ph type="subTitle" idx="1" hasCustomPrompt="1"/>
          </p:nvPr>
        </p:nvSpPr>
        <p:spPr>
          <a:xfrm>
            <a:off x="467916" y="3246835"/>
            <a:ext cx="8208168" cy="690044"/>
          </a:xfrm>
          <a:prstGeom prst="rect">
            <a:avLst/>
          </a:prstGeom>
          <a:noFill/>
        </p:spPr>
        <p:txBody>
          <a:bodyPr wrap="square" lIns="0" tIns="0" rIns="0" bIns="0"/>
          <a:lstStyle>
            <a:lvl1pPr marL="0" indent="0" algn="l">
              <a:buNone/>
              <a:defRPr sz="165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Her kan du skrive din korte undertitel</a:t>
            </a:r>
          </a:p>
        </p:txBody>
      </p:sp>
      <p:pic>
        <p:nvPicPr>
          <p:cNvPr id="2" name="Logo">
            <a:extLst>
              <a:ext uri="{FF2B5EF4-FFF2-40B4-BE49-F238E27FC236}">
                <a16:creationId xmlns:a16="http://schemas.microsoft.com/office/drawing/2014/main" id="{C0087988-83F9-66E4-F93F-872E43D65D37}"/>
              </a:ext>
            </a:extLst>
          </p:cNvPr>
          <p:cNvPicPr>
            <a:picLocks noChangeAspect="1"/>
          </p:cNvPicPr>
          <p:nvPr userDrawn="1"/>
        </p:nvPicPr>
        <p:blipFill>
          <a:blip r:embed="rId3"/>
          <a:stretch>
            <a:fillRect/>
          </a:stretch>
        </p:blipFill>
        <p:spPr>
          <a:xfrm>
            <a:off x="478992" y="4178779"/>
            <a:ext cx="3060145" cy="718892"/>
          </a:xfrm>
          <a:prstGeom prst="rect">
            <a:avLst/>
          </a:prstGeom>
        </p:spPr>
      </p:pic>
    </p:spTree>
    <p:extLst>
      <p:ext uri="{BB962C8B-B14F-4D97-AF65-F5344CB8AC3E}">
        <p14:creationId xmlns:p14="http://schemas.microsoft.com/office/powerpoint/2010/main" val="3001257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51314" y="204193"/>
            <a:ext cx="7606283" cy="519252"/>
          </a:xfrm>
        </p:spPr>
        <p:txBody>
          <a:bodyPr>
            <a:noAutofit/>
          </a:bodyPr>
          <a:lstStyle>
            <a:lvl1pPr>
              <a:defRPr>
                <a:solidFill>
                  <a:srgbClr val="1F2023"/>
                </a:solidFill>
              </a:defRPr>
            </a:lvl1pPr>
          </a:lstStyle>
          <a:p>
            <a:r>
              <a:rPr lang="en-GB"/>
              <a:t>Click to edit Master title style</a:t>
            </a:r>
            <a:endParaRPr lang="en-GB" dirty="0"/>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49115" y="4876796"/>
            <a:ext cx="6225333" cy="79587"/>
          </a:xfrm>
        </p:spPr>
        <p:txBody>
          <a:bodyPr rIns="0" anchor="t" anchorCtr="0"/>
          <a:lstStyle>
            <a:lvl1pPr marL="0" indent="0" algn="l" defTabSz="557213" rtl="0" eaLnBrk="1" latinLnBrk="0" hangingPunct="1">
              <a:spcBef>
                <a:spcPts val="0"/>
              </a:spcBef>
              <a:spcAft>
                <a:spcPts val="0"/>
              </a:spcAft>
              <a:buFont typeface="Arial" panose="020B0604020202020204" pitchFamily="34" charset="0"/>
              <a:buChar char="​"/>
              <a:defRPr lang="en-US" sz="488" kern="1200" dirty="0" smtClean="0">
                <a:solidFill>
                  <a:srgbClr val="1F2023"/>
                </a:solidFill>
                <a:latin typeface="Arial" panose="020B0604020202020204" pitchFamily="34" charset="0"/>
                <a:ea typeface="+mn-ea"/>
                <a:cs typeface="Arial" panose="020B0604020202020204" pitchFamily="34" charset="0"/>
              </a:defRPr>
            </a:lvl1pPr>
            <a:lvl2pPr marL="104477" indent="-104477" algn="l" defTabSz="557213" rtl="0" eaLnBrk="1" latinLnBrk="0" hangingPunct="1">
              <a:spcBef>
                <a:spcPts val="0"/>
              </a:spcBef>
              <a:spcAft>
                <a:spcPts val="0"/>
              </a:spcAft>
              <a:buFont typeface="Arial" panose="020B0604020202020204" pitchFamily="34" charset="0"/>
              <a:buChar char="•"/>
              <a:defRPr lang="en-US" sz="488" kern="1200" dirty="0" smtClean="0">
                <a:solidFill>
                  <a:srgbClr val="1F2023"/>
                </a:solidFill>
                <a:latin typeface="Arial" panose="020B0604020202020204" pitchFamily="34" charset="0"/>
                <a:ea typeface="+mn-ea"/>
                <a:cs typeface="Arial" panose="020B0604020202020204" pitchFamily="34" charset="0"/>
              </a:defRPr>
            </a:lvl2pPr>
            <a:lvl3pPr marL="139304" indent="-139304" algn="l" defTabSz="557213" rtl="0" eaLnBrk="1" latinLnBrk="0" hangingPunct="1">
              <a:spcBef>
                <a:spcPts val="0"/>
              </a:spcBef>
              <a:spcAft>
                <a:spcPts val="0"/>
              </a:spcAft>
              <a:buFont typeface="+mj-lt"/>
              <a:buAutoNum type="arabicPeriod"/>
              <a:defRPr lang="en-US" sz="488" kern="1200" dirty="0" smtClean="0">
                <a:solidFill>
                  <a:srgbClr val="1F2023"/>
                </a:solidFill>
                <a:latin typeface="Arial" panose="020B0604020202020204" pitchFamily="34" charset="0"/>
                <a:ea typeface="+mn-ea"/>
                <a:cs typeface="Arial" panose="020B0604020202020204" pitchFamily="34" charset="0"/>
              </a:defRPr>
            </a:lvl3pPr>
            <a:lvl4pPr marL="139304" indent="-139304" algn="l" defTabSz="557213" rtl="0" eaLnBrk="1" latinLnBrk="0" hangingPunct="1">
              <a:spcBef>
                <a:spcPts val="0"/>
              </a:spcBef>
              <a:spcAft>
                <a:spcPts val="0"/>
              </a:spcAft>
              <a:buFont typeface="+mj-lt"/>
              <a:buAutoNum type="alphaUcPeriod"/>
              <a:defRPr lang="en-US" sz="488" kern="1200" dirty="0" smtClean="0">
                <a:solidFill>
                  <a:srgbClr val="1F2023"/>
                </a:solidFill>
                <a:latin typeface="Arial" panose="020B0604020202020204" pitchFamily="34" charset="0"/>
                <a:ea typeface="+mn-ea"/>
                <a:cs typeface="Arial" panose="020B0604020202020204" pitchFamily="34" charset="0"/>
              </a:defRPr>
            </a:lvl4pPr>
            <a:lvl5pPr marL="0" algn="l" defTabSz="557213" rtl="0" eaLnBrk="1" latinLnBrk="0" hangingPunct="1">
              <a:defRPr lang="en-GB" sz="671"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a:t>
            </a:r>
          </a:p>
        </p:txBody>
      </p:sp>
      <p:sp>
        <p:nvSpPr>
          <p:cNvPr id="10" name="Date_GeneralDate" hidden="1">
            <a:extLst>
              <a:ext uri="{FF2B5EF4-FFF2-40B4-BE49-F238E27FC236}">
                <a16:creationId xmlns:a16="http://schemas.microsoft.com/office/drawing/2014/main" id="{3612FFCC-B791-4D3E-A268-282FC899CB72}"/>
              </a:ext>
            </a:extLst>
          </p:cNvPr>
          <p:cNvSpPr>
            <a:spLocks noGrp="1"/>
          </p:cNvSpPr>
          <p:nvPr>
            <p:ph type="dt" sz="half" idx="10"/>
          </p:nvPr>
        </p:nvSpPr>
        <p:spPr>
          <a:xfrm>
            <a:off x="0" y="5184000"/>
            <a:ext cx="0" cy="0"/>
          </a:xfrm>
        </p:spPr>
        <p:txBody>
          <a:bodyPr/>
          <a:lstStyle>
            <a:lvl1pPr algn="l">
              <a:defRPr sz="100" cap="all" spc="122" baseline="0">
                <a:noFill/>
              </a:defRPr>
            </a:lvl1pPr>
          </a:lstStyle>
          <a:p>
            <a:fld id="{F13090EF-F057-4F77-8F25-93B8E5D1A695}" type="datetime1">
              <a:rPr lang="en-GB" smtClean="0"/>
              <a:t>17/09/2025</a:t>
            </a:fld>
            <a:endParaRPr lang="en-GB" dirty="0"/>
          </a:p>
        </p:txBody>
      </p:sp>
      <p:sp>
        <p:nvSpPr>
          <p:cNvPr id="3" name="Slide Number Placeholder 2">
            <a:extLst>
              <a:ext uri="{FF2B5EF4-FFF2-40B4-BE49-F238E27FC236}">
                <a16:creationId xmlns:a16="http://schemas.microsoft.com/office/drawing/2014/main" id="{FAFD44B2-57DA-41D6-B086-CFC394858A0C}"/>
              </a:ext>
            </a:extLst>
          </p:cNvPr>
          <p:cNvSpPr>
            <a:spLocks noGrp="1"/>
          </p:cNvSpPr>
          <p:nvPr>
            <p:ph type="sldNum" sz="quarter" idx="16"/>
          </p:nvPr>
        </p:nvSpPr>
        <p:spPr/>
        <p:txBody>
          <a:body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4182499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theme" Target="../theme/theme10.xml"/><Relationship Id="rId50" Type="http://schemas.openxmlformats.org/officeDocument/2006/relationships/oleObject" Target="../embeddings/oleObject10.bin"/><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slideLayout" Target="../slideLayouts/slideLayout64.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tags" Target="../tags/tag11.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vmlDrawing" Target="../drawings/vmlDrawing10.vml"/><Relationship Id="rId8" Type="http://schemas.openxmlformats.org/officeDocument/2006/relationships/slideLayout" Target="../slideLayouts/slideLayout43.xml"/><Relationship Id="rId51" Type="http://schemas.openxmlformats.org/officeDocument/2006/relationships/image" Target="../media/image13.emf"/><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1" Type="http://schemas.openxmlformats.org/officeDocument/2006/relationships/slideLayout" Target="../slideLayouts/slideLayout36.xml"/><Relationship Id="rId6"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1.xml"/><Relationship Id="rId7" Type="http://schemas.openxmlformats.org/officeDocument/2006/relationships/tags" Target="../tags/tag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5.xml"/><Relationship Id="rId7" Type="http://schemas.openxmlformats.org/officeDocument/2006/relationships/tags" Target="../tags/tag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3.xml"/><Relationship Id="rId7" Type="http://schemas.openxmlformats.org/officeDocument/2006/relationships/tags" Target="../tags/tag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5.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8.xml"/><Relationship Id="rId7" Type="http://schemas.openxmlformats.org/officeDocument/2006/relationships/vmlDrawing" Target="../drawings/vmlDrawing8.v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8.xml"/><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3.xml"/><Relationship Id="rId7" Type="http://schemas.openxmlformats.org/officeDocument/2006/relationships/vmlDrawing" Target="../drawings/vmlDrawing9.v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9.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1"/>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2" imgW="347" imgH="346" progId="TCLayout.ActiveDocument.1">
                  <p:embed/>
                </p:oleObj>
              </mc:Choice>
              <mc:Fallback>
                <p:oleObj name="think-cell Slide" r:id="rId12" imgW="347" imgH="346" progId="TCLayout.ActiveDocument.1">
                  <p:embed/>
                  <p:pic>
                    <p:nvPicPr>
                      <p:cNvPr id="5" name="Objekt 4"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 id="2147483829" r:id="rId7"/>
    <p:sldLayoutId id="214748387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24DE4A7-12E0-4350-90D0-6199BDD75405}"/>
              </a:ext>
            </a:extLst>
          </p:cNvPr>
          <p:cNvGraphicFramePr>
            <a:graphicFrameLocks noChangeAspect="1"/>
          </p:cNvGraphicFramePr>
          <p:nvPr userDrawn="1">
            <p:custDataLst>
              <p:tags r:id="rId49"/>
            </p:custDataLst>
            <p:extLst>
              <p:ext uri="{D42A27DB-BD31-4B8C-83A1-F6EECF244321}">
                <p14:modId xmlns:p14="http://schemas.microsoft.com/office/powerpoint/2010/main" val="286103988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44" name="think-cell Slide" r:id="rId50" imgW="473" imgH="476" progId="TCLayout.ActiveDocument.1">
                  <p:embed/>
                </p:oleObj>
              </mc:Choice>
              <mc:Fallback>
                <p:oleObj name="think-cell Slide" r:id="rId50" imgW="473" imgH="476" progId="TCLayout.ActiveDocument.1">
                  <p:embed/>
                  <p:pic>
                    <p:nvPicPr>
                      <p:cNvPr id="6" name="think-cell data - do not delete" hidden="1">
                        <a:extLst>
                          <a:ext uri="{FF2B5EF4-FFF2-40B4-BE49-F238E27FC236}">
                            <a16:creationId xmlns:a16="http://schemas.microsoft.com/office/drawing/2014/main" id="{C24DE4A7-12E0-4350-90D0-6199BDD75405}"/>
                          </a:ext>
                        </a:extLst>
                      </p:cNvPr>
                      <p:cNvPicPr/>
                      <p:nvPr/>
                    </p:nvPicPr>
                    <p:blipFill>
                      <a:blip r:embed="rId51"/>
                      <a:stretch>
                        <a:fillRect/>
                      </a:stretch>
                    </p:blipFill>
                    <p:spPr>
                      <a:xfrm>
                        <a:off x="1191" y="1191"/>
                        <a:ext cx="1191" cy="1191"/>
                      </a:xfrm>
                      <a:prstGeom prst="rect">
                        <a:avLst/>
                      </a:prstGeom>
                    </p:spPr>
                  </p:pic>
                </p:oleObj>
              </mc:Fallback>
            </mc:AlternateContent>
          </a:graphicData>
        </a:graphic>
      </p:graphicFrame>
      <p:sp>
        <p:nvSpPr>
          <p:cNvPr id="10" name="Pladsholder til titel 1"/>
          <p:cNvSpPr>
            <a:spLocks noGrp="1"/>
          </p:cNvSpPr>
          <p:nvPr>
            <p:ph type="title"/>
          </p:nvPr>
        </p:nvSpPr>
        <p:spPr>
          <a:xfrm>
            <a:off x="417251" y="204787"/>
            <a:ext cx="8309499" cy="858442"/>
          </a:xfrm>
          <a:prstGeom prst="rect">
            <a:avLst/>
          </a:prstGeom>
        </p:spPr>
        <p:txBody>
          <a:bodyPr vert="horz" lIns="0" tIns="40934" rIns="81869" bIns="40934" rtlCol="0" anchor="ctr">
            <a:normAutofit/>
          </a:bodyPr>
          <a:lstStyle/>
          <a:p>
            <a:r>
              <a:rPr lang="da-DK" noProof="0" dirty="0"/>
              <a:t>Klik for at redigere i master</a:t>
            </a:r>
          </a:p>
        </p:txBody>
      </p:sp>
      <p:sp>
        <p:nvSpPr>
          <p:cNvPr id="11" name="Pladsholder til tekst 3"/>
          <p:cNvSpPr>
            <a:spLocks noGrp="1"/>
          </p:cNvSpPr>
          <p:nvPr>
            <p:ph type="body" idx="1"/>
          </p:nvPr>
        </p:nvSpPr>
        <p:spPr>
          <a:xfrm>
            <a:off x="417250" y="1188243"/>
            <a:ext cx="8309499" cy="3219451"/>
          </a:xfrm>
          <a:prstGeom prst="rect">
            <a:avLst/>
          </a:prstGeom>
        </p:spPr>
        <p:txBody>
          <a:bodyPr vert="horz" wrap="square" lIns="0" tIns="45720" rIns="91440" bIns="45720" rtlCol="0" anchor="t">
            <a:normAutofit/>
          </a:bodyPr>
          <a:lstStyle/>
          <a:p>
            <a:pPr lvl="0"/>
            <a:r>
              <a:rPr lang="da-DK" noProof="0" dirty="0"/>
              <a:t>Rediger typografien i masterens</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Sjette niveau</a:t>
            </a:r>
          </a:p>
          <a:p>
            <a:pPr lvl="6"/>
            <a:r>
              <a:rPr lang="da-DK" noProof="0" dirty="0"/>
              <a:t>Syvende niveau</a:t>
            </a:r>
          </a:p>
          <a:p>
            <a:pPr lvl="7"/>
            <a:r>
              <a:rPr lang="da-DK" noProof="0" dirty="0"/>
              <a:t>Ottende niveau</a:t>
            </a:r>
          </a:p>
          <a:p>
            <a:pPr lvl="8"/>
            <a:r>
              <a:rPr lang="da-DK" noProof="0" dirty="0"/>
              <a:t>9</a:t>
            </a:r>
          </a:p>
        </p:txBody>
      </p:sp>
      <p:sp>
        <p:nvSpPr>
          <p:cNvPr id="2" name="Date Placeholder 1">
            <a:extLst>
              <a:ext uri="{FF2B5EF4-FFF2-40B4-BE49-F238E27FC236}">
                <a16:creationId xmlns:a16="http://schemas.microsoft.com/office/drawing/2014/main" id="{9966FC56-0D6F-6DD7-B400-ADDD7313F621}"/>
              </a:ext>
            </a:extLst>
          </p:cNvPr>
          <p:cNvSpPr>
            <a:spLocks noGrp="1"/>
          </p:cNvSpPr>
          <p:nvPr>
            <p:ph type="dt" sz="half" idx="2"/>
          </p:nvPr>
        </p:nvSpPr>
        <p:spPr>
          <a:xfrm>
            <a:off x="6790135" y="4811316"/>
            <a:ext cx="1418034" cy="133660"/>
          </a:xfrm>
          <a:prstGeom prst="rect">
            <a:avLst/>
          </a:prstGeom>
        </p:spPr>
        <p:txBody>
          <a:bodyPr vert="horz" lIns="0" tIns="0" rIns="0" bIns="0" rtlCol="0" anchor="ctr"/>
          <a:lstStyle>
            <a:lvl1pPr algn="r">
              <a:defRPr sz="600">
                <a:solidFill>
                  <a:schemeClr val="tx1"/>
                </a:solidFill>
              </a:defRPr>
            </a:lvl1pPr>
          </a:lstStyle>
          <a:p>
            <a:fld id="{3345C788-3D9C-4434-97DD-0BA6A7D777AF}" type="datetime2">
              <a:rPr lang="da-DK" smtClean="0"/>
              <a:t>17. september 2025</a:t>
            </a:fld>
            <a:r>
              <a:rPr lang="da-DK" dirty="0"/>
              <a:t> </a:t>
            </a:r>
          </a:p>
        </p:txBody>
      </p:sp>
      <p:sp>
        <p:nvSpPr>
          <p:cNvPr id="3" name="Footer Placeholder 2">
            <a:extLst>
              <a:ext uri="{FF2B5EF4-FFF2-40B4-BE49-F238E27FC236}">
                <a16:creationId xmlns:a16="http://schemas.microsoft.com/office/drawing/2014/main" id="{520DB0C6-411E-3753-1BAD-85C68D201589}"/>
              </a:ext>
            </a:extLst>
          </p:cNvPr>
          <p:cNvSpPr>
            <a:spLocks noGrp="1"/>
          </p:cNvSpPr>
          <p:nvPr>
            <p:ph type="ftr" sz="quarter" idx="3"/>
          </p:nvPr>
        </p:nvSpPr>
        <p:spPr>
          <a:xfrm>
            <a:off x="411956" y="4811316"/>
            <a:ext cx="2834879" cy="135000"/>
          </a:xfrm>
          <a:prstGeom prst="rect">
            <a:avLst/>
          </a:prstGeom>
        </p:spPr>
        <p:txBody>
          <a:bodyPr vert="horz" lIns="0" tIns="0" rIns="0" bIns="0" rtlCol="0" anchor="ctr"/>
          <a:lstStyle>
            <a:lvl1pPr algn="l">
              <a:defRPr sz="600">
                <a:solidFill>
                  <a:schemeClr val="tx1"/>
                </a:solidFill>
              </a:defRPr>
            </a:lvl1pPr>
          </a:lstStyle>
          <a:p>
            <a:r>
              <a:rPr lang="da-DK" dirty="0"/>
              <a:t>Klimadatastyrelsen </a:t>
            </a:r>
          </a:p>
        </p:txBody>
      </p:sp>
      <p:sp>
        <p:nvSpPr>
          <p:cNvPr id="4" name="Slide Number Placeholder 3">
            <a:extLst>
              <a:ext uri="{FF2B5EF4-FFF2-40B4-BE49-F238E27FC236}">
                <a16:creationId xmlns:a16="http://schemas.microsoft.com/office/drawing/2014/main" id="{7C959153-84ED-EB71-2819-7212CFB85636}"/>
              </a:ext>
            </a:extLst>
          </p:cNvPr>
          <p:cNvSpPr>
            <a:spLocks noGrp="1"/>
          </p:cNvSpPr>
          <p:nvPr>
            <p:ph type="sldNum" sz="quarter" idx="4"/>
          </p:nvPr>
        </p:nvSpPr>
        <p:spPr>
          <a:xfrm>
            <a:off x="8435044" y="4809976"/>
            <a:ext cx="297000" cy="135000"/>
          </a:xfrm>
          <a:prstGeom prst="rect">
            <a:avLst/>
          </a:prstGeom>
        </p:spPr>
        <p:txBody>
          <a:bodyPr vert="horz" lIns="0" tIns="0" rIns="0" bIns="0" rtlCol="0" anchor="ctr"/>
          <a:lstStyle>
            <a:lvl1pPr algn="r">
              <a:defRPr sz="600">
                <a:solidFill>
                  <a:schemeClr val="tx1"/>
                </a:solidFill>
              </a:defRPr>
            </a:lvl1pPr>
          </a:lstStyle>
          <a:p>
            <a:fld id="{27069E6C-1A00-4921-95F4-578604732DF4}" type="slidenum">
              <a:rPr lang="da-DK" smtClean="0"/>
              <a:pPr/>
              <a:t>‹nr.›</a:t>
            </a:fld>
            <a:endParaRPr lang="da-DK" dirty="0"/>
          </a:p>
        </p:txBody>
      </p:sp>
    </p:spTree>
    <p:extLst>
      <p:ext uri="{BB962C8B-B14F-4D97-AF65-F5344CB8AC3E}">
        <p14:creationId xmlns:p14="http://schemas.microsoft.com/office/powerpoint/2010/main" val="17886184"/>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818672" rtl="0" eaLnBrk="1" latinLnBrk="0" hangingPunct="1">
        <a:spcBef>
          <a:spcPct val="0"/>
        </a:spcBef>
        <a:buNone/>
        <a:defRPr sz="2400" kern="1200">
          <a:solidFill>
            <a:schemeClr val="tx1"/>
          </a:solidFill>
          <a:latin typeface="+mj-lt"/>
          <a:ea typeface="Arial" panose="020B0604020202020204" pitchFamily="34" charset="0"/>
          <a:cs typeface="Arial" panose="020B0604020202020204" pitchFamily="34" charset="0"/>
        </a:defRPr>
      </a:lvl1pPr>
    </p:titleStyle>
    <p:bodyStyle>
      <a:lvl1pPr marL="307002" indent="-307002" algn="l" defTabSz="818672" rtl="0" eaLnBrk="1" latinLnBrk="0" hangingPunct="1">
        <a:lnSpc>
          <a:spcPct val="100000"/>
        </a:lnSpc>
        <a:spcBef>
          <a:spcPct val="20000"/>
        </a:spcBef>
        <a:spcAft>
          <a:spcPts val="450"/>
        </a:spcAft>
        <a:buFont typeface="Arial" panose="020B0604020202020204" pitchFamily="34" charset="0"/>
        <a:buChar char="•"/>
        <a:defRPr sz="1500" kern="1200">
          <a:solidFill>
            <a:schemeClr val="tx1"/>
          </a:solidFill>
          <a:latin typeface="+mn-lt"/>
          <a:ea typeface="Arial" panose="020B0604020202020204" pitchFamily="34" charset="0"/>
          <a:cs typeface="Arial" panose="020B0604020202020204" pitchFamily="34" charset="0"/>
        </a:defRPr>
      </a:lvl1pPr>
      <a:lvl2pPr marL="665171" indent="-255836" algn="l" defTabSz="818672" rtl="0" eaLnBrk="1" latinLnBrk="0" hangingPunct="1">
        <a:lnSpc>
          <a:spcPct val="100000"/>
        </a:lnSpc>
        <a:spcBef>
          <a:spcPct val="20000"/>
        </a:spcBef>
        <a:spcAft>
          <a:spcPts val="450"/>
        </a:spcAft>
        <a:buFont typeface="Arial" panose="020B0604020202020204" pitchFamily="34" charset="0"/>
        <a:buChar char="›"/>
        <a:defRPr sz="1350" kern="1200">
          <a:solidFill>
            <a:schemeClr val="tx1"/>
          </a:solidFill>
          <a:latin typeface="+mn-lt"/>
          <a:ea typeface="Arial" panose="020B0604020202020204" pitchFamily="34" charset="0"/>
          <a:cs typeface="Arial" panose="020B0604020202020204" pitchFamily="34" charset="0"/>
        </a:defRPr>
      </a:lvl2pPr>
      <a:lvl3pPr marL="1023341" indent="-204668" algn="l" defTabSz="818672" rtl="0" eaLnBrk="1" latinLnBrk="0" hangingPunct="1">
        <a:lnSpc>
          <a:spcPct val="100000"/>
        </a:lnSpc>
        <a:spcBef>
          <a:spcPct val="20000"/>
        </a:spcBef>
        <a:spcAft>
          <a:spcPts val="450"/>
        </a:spcAft>
        <a:buSzPct val="80000"/>
        <a:buFont typeface="Arial" panose="020B0604020202020204" pitchFamily="34" charset="0"/>
        <a:buChar char="§"/>
        <a:defRPr sz="1200" kern="1200">
          <a:solidFill>
            <a:schemeClr val="tx1"/>
          </a:solidFill>
          <a:latin typeface="+mn-lt"/>
          <a:ea typeface="Arial" panose="020B0604020202020204" pitchFamily="34" charset="0"/>
          <a:cs typeface="Arial" panose="020B0604020202020204" pitchFamily="34" charset="0"/>
        </a:defRPr>
      </a:lvl3pPr>
      <a:lvl4pPr marL="0" indent="0" algn="l" defTabSz="818672" rtl="0" eaLnBrk="1" latinLnBrk="0" hangingPunct="1">
        <a:lnSpc>
          <a:spcPct val="90000"/>
        </a:lnSpc>
        <a:spcBef>
          <a:spcPts val="0"/>
        </a:spcBef>
        <a:spcAft>
          <a:spcPts val="450"/>
        </a:spcAft>
        <a:buFont typeface="Arial" panose="020B0604020202020204" pitchFamily="34" charset="0"/>
        <a:buChar char="​"/>
        <a:defRPr sz="1500" b="1" kern="1200">
          <a:solidFill>
            <a:schemeClr val="tx1"/>
          </a:solidFill>
          <a:latin typeface="+mn-lt"/>
          <a:ea typeface="Arial" panose="020B0604020202020204" pitchFamily="34" charset="0"/>
          <a:cs typeface="Arial" panose="020B0604020202020204" pitchFamily="34" charset="0"/>
        </a:defRPr>
      </a:lvl4pPr>
      <a:lvl5pPr marL="0" indent="0" algn="l" defTabSz="818672" rtl="0" eaLnBrk="1" latinLnBrk="0" hangingPunct="1">
        <a:lnSpc>
          <a:spcPct val="90000"/>
        </a:lnSpc>
        <a:spcBef>
          <a:spcPts val="0"/>
        </a:spcBef>
        <a:spcAft>
          <a:spcPts val="450"/>
        </a:spcAft>
        <a:buFont typeface="Arial" panose="020B0604020202020204" pitchFamily="34" charset="0"/>
        <a:buChar char="​"/>
        <a:defRPr sz="1500" kern="1200">
          <a:solidFill>
            <a:schemeClr val="tx1"/>
          </a:solidFill>
          <a:latin typeface="+mn-lt"/>
          <a:ea typeface="Arial" panose="020B0604020202020204" pitchFamily="34" charset="0"/>
          <a:cs typeface="Arial" panose="020B0604020202020204" pitchFamily="34" charset="0"/>
        </a:defRPr>
      </a:lvl5pPr>
      <a:lvl6pPr marL="205200" indent="-205200" algn="l" defTabSz="818672" rtl="0" eaLnBrk="1" latinLnBrk="0" hangingPunct="1">
        <a:lnSpc>
          <a:spcPct val="90000"/>
        </a:lnSpc>
        <a:spcBef>
          <a:spcPts val="0"/>
        </a:spcBef>
        <a:spcAft>
          <a:spcPts val="450"/>
        </a:spcAft>
        <a:buFont typeface="Arial" panose="020B0604020202020204" pitchFamily="34" charset="0"/>
        <a:buChar char="•"/>
        <a:defRPr sz="1050" b="0" kern="1200">
          <a:solidFill>
            <a:schemeClr val="tx1"/>
          </a:solidFill>
          <a:latin typeface="+mn-lt"/>
          <a:ea typeface="+mn-ea"/>
          <a:cs typeface="Arial" panose="020B0604020202020204" pitchFamily="34" charset="0"/>
        </a:defRPr>
      </a:lvl6pPr>
      <a:lvl7pPr marL="0" indent="0" algn="l" defTabSz="818672" rtl="0" eaLnBrk="1" latinLnBrk="0" hangingPunct="1">
        <a:lnSpc>
          <a:spcPct val="90000"/>
        </a:lnSpc>
        <a:spcBef>
          <a:spcPts val="0"/>
        </a:spcBef>
        <a:spcAft>
          <a:spcPts val="450"/>
        </a:spcAft>
        <a:buFont typeface="Arial" panose="020B0604020202020204" pitchFamily="34" charset="0"/>
        <a:buChar char="​"/>
        <a:defRPr sz="1050" b="1" kern="1200">
          <a:solidFill>
            <a:schemeClr val="tx1"/>
          </a:solidFill>
          <a:latin typeface="+mn-lt"/>
          <a:ea typeface="+mn-ea"/>
          <a:cs typeface="Arial" panose="020B0604020202020204" pitchFamily="34" charset="0"/>
        </a:defRPr>
      </a:lvl7pPr>
      <a:lvl8pPr marL="0" indent="0" algn="l" defTabSz="818672" rtl="0" eaLnBrk="1" latinLnBrk="0" hangingPunct="1">
        <a:lnSpc>
          <a:spcPct val="90000"/>
        </a:lnSpc>
        <a:spcBef>
          <a:spcPts val="0"/>
        </a:spcBef>
        <a:spcAft>
          <a:spcPts val="450"/>
        </a:spcAft>
        <a:buFont typeface="Arial" panose="020B0604020202020204" pitchFamily="34" charset="0"/>
        <a:buChar char="​"/>
        <a:defRPr sz="1050" kern="1200">
          <a:solidFill>
            <a:schemeClr val="tx1"/>
          </a:solidFill>
          <a:latin typeface="+mn-lt"/>
          <a:ea typeface="+mn-ea"/>
          <a:cs typeface="Arial" panose="020B0604020202020204" pitchFamily="34" charset="0"/>
        </a:defRPr>
      </a:lvl8pPr>
      <a:lvl9pPr marL="0" indent="0" algn="l" defTabSz="818672" rtl="0" eaLnBrk="1" latinLnBrk="0" hangingPunct="1">
        <a:lnSpc>
          <a:spcPct val="90000"/>
        </a:lnSpc>
        <a:spcBef>
          <a:spcPts val="0"/>
        </a:spcBef>
        <a:buFont typeface="Arial" panose="020B0604020202020204" pitchFamily="34" charset="0"/>
        <a:buChar char="​"/>
        <a:defRPr sz="4950" b="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6">
          <p15:clr>
            <a:srgbClr val="A4A4A4"/>
          </p15:clr>
        </p15:guide>
        <p15:guide id="2" pos="785">
          <p15:clr>
            <a:srgbClr val="A4A4A4"/>
          </p15:clr>
        </p15:guide>
        <p15:guide id="3" orient="horz" pos="998">
          <p15:clr>
            <a:srgbClr val="A4A4A4"/>
          </p15:clr>
        </p15:guide>
        <p15:guide id="4" orient="horz" pos="3702">
          <p15:clr>
            <a:srgbClr val="A4A4A4"/>
          </p15:clr>
        </p15:guide>
        <p15:guide id="5" pos="942">
          <p15:clr>
            <a:srgbClr val="A4A4A4"/>
          </p15:clr>
        </p15:guide>
        <p15:guide id="6" orient="horz" pos="893">
          <p15:clr>
            <a:srgbClr val="A4A4A4"/>
          </p15:clr>
        </p15:guide>
        <p15:guide id="7" orient="horz" pos="4041">
          <p15:clr>
            <a:srgbClr val="A4A4A4"/>
          </p15:clr>
        </p15:guide>
        <p15:guide id="8" pos="1380">
          <p15:clr>
            <a:srgbClr val="A4A4A4"/>
          </p15:clr>
        </p15:guide>
        <p15:guide id="9" orient="horz" pos="172">
          <p15:clr>
            <a:srgbClr val="A4A4A4"/>
          </p15:clr>
        </p15:guide>
        <p15:guide id="10" pos="1537">
          <p15:clr>
            <a:srgbClr val="A4A4A4"/>
          </p15:clr>
        </p15:guide>
        <p15:guide id="11" pos="1976">
          <p15:clr>
            <a:srgbClr val="A4A4A4"/>
          </p15:clr>
        </p15:guide>
        <p15:guide id="12" pos="2132">
          <p15:clr>
            <a:srgbClr val="A4A4A4"/>
          </p15:clr>
        </p15:guide>
        <p15:guide id="13" pos="2571">
          <p15:clr>
            <a:srgbClr val="A4A4A4"/>
          </p15:clr>
        </p15:guide>
        <p15:guide id="14" pos="2727">
          <p15:clr>
            <a:srgbClr val="A4A4A4"/>
          </p15:clr>
        </p15:guide>
        <p15:guide id="15" pos="3166">
          <p15:clr>
            <a:srgbClr val="A4A4A4"/>
          </p15:clr>
        </p15:guide>
        <p15:guide id="16" pos="3323">
          <p15:clr>
            <a:srgbClr val="A4A4A4"/>
          </p15:clr>
        </p15:guide>
        <p15:guide id="17" pos="3761">
          <p15:clr>
            <a:srgbClr val="A4A4A4"/>
          </p15:clr>
        </p15:guide>
        <p15:guide id="18" pos="3918">
          <p15:clr>
            <a:srgbClr val="A4A4A4"/>
          </p15:clr>
        </p15:guide>
        <p15:guide id="19" pos="4356">
          <p15:clr>
            <a:srgbClr val="A4A4A4"/>
          </p15:clr>
        </p15:guide>
        <p15:guide id="20" pos="4513">
          <p15:clr>
            <a:srgbClr val="A4A4A4"/>
          </p15:clr>
        </p15:guide>
        <p15:guide id="21" pos="4952">
          <p15:clr>
            <a:srgbClr val="A4A4A4"/>
          </p15:clr>
        </p15:guide>
        <p15:guide id="22" pos="5108">
          <p15:clr>
            <a:srgbClr val="A4A4A4"/>
          </p15:clr>
        </p15:guide>
        <p15:guide id="23" pos="5547">
          <p15:clr>
            <a:srgbClr val="A4A4A4"/>
          </p15:clr>
        </p15:guide>
        <p15:guide id="24" pos="5703">
          <p15:clr>
            <a:srgbClr val="A4A4A4"/>
          </p15:clr>
        </p15:guide>
        <p15:guide id="25" pos="6142">
          <p15:clr>
            <a:srgbClr val="A4A4A4"/>
          </p15:clr>
        </p15:guide>
        <p15:guide id="26" pos="6299">
          <p15:clr>
            <a:srgbClr val="A4A4A4"/>
          </p15:clr>
        </p15:guide>
        <p15:guide id="27" pos="6737">
          <p15:clr>
            <a:srgbClr val="A4A4A4"/>
          </p15:clr>
        </p15:guide>
        <p15:guide id="28" pos="6894">
          <p15:clr>
            <a:srgbClr val="A4A4A4"/>
          </p15:clr>
        </p15:guide>
        <p15:guide id="29" pos="7333">
          <p15:clr>
            <a:srgbClr val="A4A4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28"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6" imgW="347" imgH="346" progId="TCLayout.ActiveDocument.1">
                  <p:embed/>
                </p:oleObj>
              </mc:Choice>
              <mc:Fallback>
                <p:oleObj name="think-cell Slide" r:id="rId6" imgW="347" imgH="346"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347" imgH="346" progId="TCLayout.ActiveDocument.1">
                  <p:embed/>
                </p:oleObj>
              </mc:Choice>
              <mc:Fallback>
                <p:oleObj name="think-cell Slide" r:id="rId6" imgW="347" imgH="346"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347" imgH="346" progId="TCLayout.ActiveDocument.1">
                  <p:embed/>
                </p:oleObj>
              </mc:Choice>
              <mc:Fallback>
                <p:oleObj name="think-cell Slide" r:id="rId5" imgW="347" imgH="346"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7. september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36.xml"/><Relationship Id="rId21" Type="http://schemas.openxmlformats.org/officeDocument/2006/relationships/tags" Target="../tags/tag31.xml"/><Relationship Id="rId42" Type="http://schemas.openxmlformats.org/officeDocument/2006/relationships/tags" Target="../tags/tag52.xml"/><Relationship Id="rId47" Type="http://schemas.openxmlformats.org/officeDocument/2006/relationships/tags" Target="../tags/tag57.xml"/><Relationship Id="rId63" Type="http://schemas.openxmlformats.org/officeDocument/2006/relationships/tags" Target="../tags/tag73.xml"/><Relationship Id="rId68" Type="http://schemas.openxmlformats.org/officeDocument/2006/relationships/tags" Target="../tags/tag78.xml"/><Relationship Id="rId7" Type="http://schemas.openxmlformats.org/officeDocument/2006/relationships/tags" Target="../tags/tag17.xml"/><Relationship Id="rId71" Type="http://schemas.openxmlformats.org/officeDocument/2006/relationships/image" Target="../media/image36.emf"/><Relationship Id="rId2" Type="http://schemas.openxmlformats.org/officeDocument/2006/relationships/tags" Target="../tags/tag12.xml"/><Relationship Id="rId16" Type="http://schemas.openxmlformats.org/officeDocument/2006/relationships/tags" Target="../tags/tag26.xml"/><Relationship Id="rId29" Type="http://schemas.openxmlformats.org/officeDocument/2006/relationships/tags" Target="../tags/tag39.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tags" Target="../tags/tag47.xml"/><Relationship Id="rId40" Type="http://schemas.openxmlformats.org/officeDocument/2006/relationships/tags" Target="../tags/tag50.xml"/><Relationship Id="rId45" Type="http://schemas.openxmlformats.org/officeDocument/2006/relationships/tags" Target="../tags/tag55.xml"/><Relationship Id="rId53" Type="http://schemas.openxmlformats.org/officeDocument/2006/relationships/tags" Target="../tags/tag63.xml"/><Relationship Id="rId58" Type="http://schemas.openxmlformats.org/officeDocument/2006/relationships/tags" Target="../tags/tag68.xml"/><Relationship Id="rId66" Type="http://schemas.openxmlformats.org/officeDocument/2006/relationships/tags" Target="../tags/tag76.xml"/><Relationship Id="rId5" Type="http://schemas.openxmlformats.org/officeDocument/2006/relationships/tags" Target="../tags/tag15.xml"/><Relationship Id="rId61" Type="http://schemas.openxmlformats.org/officeDocument/2006/relationships/tags" Target="../tags/tag71.xml"/><Relationship Id="rId19" Type="http://schemas.openxmlformats.org/officeDocument/2006/relationships/tags" Target="../tags/tag2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tags" Target="../tags/tag45.xml"/><Relationship Id="rId43" Type="http://schemas.openxmlformats.org/officeDocument/2006/relationships/tags" Target="../tags/tag53.xml"/><Relationship Id="rId48" Type="http://schemas.openxmlformats.org/officeDocument/2006/relationships/tags" Target="../tags/tag58.xml"/><Relationship Id="rId56" Type="http://schemas.openxmlformats.org/officeDocument/2006/relationships/tags" Target="../tags/tag66.xml"/><Relationship Id="rId64" Type="http://schemas.openxmlformats.org/officeDocument/2006/relationships/tags" Target="../tags/tag74.xml"/><Relationship Id="rId69" Type="http://schemas.openxmlformats.org/officeDocument/2006/relationships/slideLayout" Target="../slideLayouts/slideLayout7.xml"/><Relationship Id="rId8" Type="http://schemas.openxmlformats.org/officeDocument/2006/relationships/tags" Target="../tags/tag18.xml"/><Relationship Id="rId51" Type="http://schemas.openxmlformats.org/officeDocument/2006/relationships/tags" Target="../tags/tag61.xml"/><Relationship Id="rId72" Type="http://schemas.openxmlformats.org/officeDocument/2006/relationships/image" Target="../media/image31.jpeg"/><Relationship Id="rId3" Type="http://schemas.openxmlformats.org/officeDocument/2006/relationships/tags" Target="../tags/tag13.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tags" Target="../tags/tag48.xml"/><Relationship Id="rId46" Type="http://schemas.openxmlformats.org/officeDocument/2006/relationships/tags" Target="../tags/tag56.xml"/><Relationship Id="rId59" Type="http://schemas.openxmlformats.org/officeDocument/2006/relationships/tags" Target="../tags/tag69.xml"/><Relationship Id="rId67" Type="http://schemas.openxmlformats.org/officeDocument/2006/relationships/tags" Target="../tags/tag77.xml"/><Relationship Id="rId20" Type="http://schemas.openxmlformats.org/officeDocument/2006/relationships/tags" Target="../tags/tag30.xml"/><Relationship Id="rId41" Type="http://schemas.openxmlformats.org/officeDocument/2006/relationships/tags" Target="../tags/tag51.xml"/><Relationship Id="rId54" Type="http://schemas.openxmlformats.org/officeDocument/2006/relationships/tags" Target="../tags/tag64.xml"/><Relationship Id="rId62" Type="http://schemas.openxmlformats.org/officeDocument/2006/relationships/tags" Target="../tags/tag72.xml"/><Relationship Id="rId70"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16.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49" Type="http://schemas.openxmlformats.org/officeDocument/2006/relationships/tags" Target="../tags/tag59.xml"/><Relationship Id="rId57" Type="http://schemas.openxmlformats.org/officeDocument/2006/relationships/tags" Target="../tags/tag67.xml"/><Relationship Id="rId10" Type="http://schemas.openxmlformats.org/officeDocument/2006/relationships/tags" Target="../tags/tag20.xml"/><Relationship Id="rId31" Type="http://schemas.openxmlformats.org/officeDocument/2006/relationships/tags" Target="../tags/tag41.xml"/><Relationship Id="rId44" Type="http://schemas.openxmlformats.org/officeDocument/2006/relationships/tags" Target="../tags/tag54.xml"/><Relationship Id="rId52" Type="http://schemas.openxmlformats.org/officeDocument/2006/relationships/tags" Target="../tags/tag62.xml"/><Relationship Id="rId60" Type="http://schemas.openxmlformats.org/officeDocument/2006/relationships/tags" Target="../tags/tag70.xml"/><Relationship Id="rId65" Type="http://schemas.openxmlformats.org/officeDocument/2006/relationships/tags" Target="../tags/tag75.xml"/><Relationship Id="rId4" Type="http://schemas.openxmlformats.org/officeDocument/2006/relationships/tags" Target="../tags/tag14.xml"/><Relationship Id="rId9" Type="http://schemas.openxmlformats.org/officeDocument/2006/relationships/tags" Target="../tags/tag19.xml"/><Relationship Id="rId13" Type="http://schemas.openxmlformats.org/officeDocument/2006/relationships/tags" Target="../tags/tag23.xml"/><Relationship Id="rId18" Type="http://schemas.openxmlformats.org/officeDocument/2006/relationships/tags" Target="../tags/tag28.xml"/><Relationship Id="rId39" Type="http://schemas.openxmlformats.org/officeDocument/2006/relationships/tags" Target="../tags/tag49.xml"/><Relationship Id="rId34" Type="http://schemas.openxmlformats.org/officeDocument/2006/relationships/tags" Target="../tags/tag44.xml"/><Relationship Id="rId50" Type="http://schemas.openxmlformats.org/officeDocument/2006/relationships/tags" Target="../tags/tag60.xml"/><Relationship Id="rId55" Type="http://schemas.openxmlformats.org/officeDocument/2006/relationships/tags" Target="../tags/tag65.xml"/></Relationships>
</file>

<file path=ppt/slides/_rels/slide11.xml.rels><?xml version="1.0" encoding="UTF-8" standalone="yes"?>
<Relationships xmlns="http://schemas.openxmlformats.org/package/2006/relationships"><Relationship Id="rId26" Type="http://schemas.openxmlformats.org/officeDocument/2006/relationships/tags" Target="../tags/tag103.xml"/><Relationship Id="rId21" Type="http://schemas.openxmlformats.org/officeDocument/2006/relationships/tags" Target="../tags/tag98.xml"/><Relationship Id="rId42" Type="http://schemas.openxmlformats.org/officeDocument/2006/relationships/tags" Target="../tags/tag119.xml"/><Relationship Id="rId47" Type="http://schemas.openxmlformats.org/officeDocument/2006/relationships/tags" Target="../tags/tag124.xml"/><Relationship Id="rId63" Type="http://schemas.openxmlformats.org/officeDocument/2006/relationships/tags" Target="../tags/tag140.xml"/><Relationship Id="rId68" Type="http://schemas.openxmlformats.org/officeDocument/2006/relationships/tags" Target="../tags/tag145.xml"/><Relationship Id="rId7" Type="http://schemas.openxmlformats.org/officeDocument/2006/relationships/tags" Target="../tags/tag84.xml"/><Relationship Id="rId71" Type="http://schemas.openxmlformats.org/officeDocument/2006/relationships/image" Target="../media/image36.emf"/><Relationship Id="rId2" Type="http://schemas.openxmlformats.org/officeDocument/2006/relationships/tags" Target="../tags/tag79.xml"/><Relationship Id="rId16" Type="http://schemas.openxmlformats.org/officeDocument/2006/relationships/tags" Target="../tags/tag93.xml"/><Relationship Id="rId29" Type="http://schemas.openxmlformats.org/officeDocument/2006/relationships/tags" Target="../tags/tag106.xml"/><Relationship Id="rId11" Type="http://schemas.openxmlformats.org/officeDocument/2006/relationships/tags" Target="../tags/tag88.xml"/><Relationship Id="rId24" Type="http://schemas.openxmlformats.org/officeDocument/2006/relationships/tags" Target="../tags/tag101.xml"/><Relationship Id="rId32" Type="http://schemas.openxmlformats.org/officeDocument/2006/relationships/tags" Target="../tags/tag109.xml"/><Relationship Id="rId37" Type="http://schemas.openxmlformats.org/officeDocument/2006/relationships/tags" Target="../tags/tag114.xml"/><Relationship Id="rId40" Type="http://schemas.openxmlformats.org/officeDocument/2006/relationships/tags" Target="../tags/tag117.xml"/><Relationship Id="rId45" Type="http://schemas.openxmlformats.org/officeDocument/2006/relationships/tags" Target="../tags/tag122.xml"/><Relationship Id="rId53" Type="http://schemas.openxmlformats.org/officeDocument/2006/relationships/tags" Target="../tags/tag130.xml"/><Relationship Id="rId58" Type="http://schemas.openxmlformats.org/officeDocument/2006/relationships/tags" Target="../tags/tag135.xml"/><Relationship Id="rId66" Type="http://schemas.openxmlformats.org/officeDocument/2006/relationships/tags" Target="../tags/tag143.xml"/><Relationship Id="rId5" Type="http://schemas.openxmlformats.org/officeDocument/2006/relationships/tags" Target="../tags/tag82.xml"/><Relationship Id="rId61" Type="http://schemas.openxmlformats.org/officeDocument/2006/relationships/tags" Target="../tags/tag138.xml"/><Relationship Id="rId19" Type="http://schemas.openxmlformats.org/officeDocument/2006/relationships/tags" Target="../tags/tag9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tags" Target="../tags/tag104.xml"/><Relationship Id="rId30" Type="http://schemas.openxmlformats.org/officeDocument/2006/relationships/tags" Target="../tags/tag107.xml"/><Relationship Id="rId35" Type="http://schemas.openxmlformats.org/officeDocument/2006/relationships/tags" Target="../tags/tag112.xml"/><Relationship Id="rId43" Type="http://schemas.openxmlformats.org/officeDocument/2006/relationships/tags" Target="../tags/tag120.xml"/><Relationship Id="rId48" Type="http://schemas.openxmlformats.org/officeDocument/2006/relationships/tags" Target="../tags/tag125.xml"/><Relationship Id="rId56" Type="http://schemas.openxmlformats.org/officeDocument/2006/relationships/tags" Target="../tags/tag133.xml"/><Relationship Id="rId64" Type="http://schemas.openxmlformats.org/officeDocument/2006/relationships/tags" Target="../tags/tag141.xml"/><Relationship Id="rId69" Type="http://schemas.openxmlformats.org/officeDocument/2006/relationships/slideLayout" Target="../slideLayouts/slideLayout7.xml"/><Relationship Id="rId8" Type="http://schemas.openxmlformats.org/officeDocument/2006/relationships/tags" Target="../tags/tag85.xml"/><Relationship Id="rId51" Type="http://schemas.openxmlformats.org/officeDocument/2006/relationships/tags" Target="../tags/tag128.xml"/><Relationship Id="rId72" Type="http://schemas.openxmlformats.org/officeDocument/2006/relationships/image" Target="../media/image31.jpeg"/><Relationship Id="rId3" Type="http://schemas.openxmlformats.org/officeDocument/2006/relationships/tags" Target="../tags/tag80.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33" Type="http://schemas.openxmlformats.org/officeDocument/2006/relationships/tags" Target="../tags/tag110.xml"/><Relationship Id="rId38" Type="http://schemas.openxmlformats.org/officeDocument/2006/relationships/tags" Target="../tags/tag115.xml"/><Relationship Id="rId46" Type="http://schemas.openxmlformats.org/officeDocument/2006/relationships/tags" Target="../tags/tag123.xml"/><Relationship Id="rId59" Type="http://schemas.openxmlformats.org/officeDocument/2006/relationships/tags" Target="../tags/tag136.xml"/><Relationship Id="rId67" Type="http://schemas.openxmlformats.org/officeDocument/2006/relationships/tags" Target="../tags/tag144.xml"/><Relationship Id="rId20" Type="http://schemas.openxmlformats.org/officeDocument/2006/relationships/tags" Target="../tags/tag97.xml"/><Relationship Id="rId41" Type="http://schemas.openxmlformats.org/officeDocument/2006/relationships/tags" Target="../tags/tag118.xml"/><Relationship Id="rId54" Type="http://schemas.openxmlformats.org/officeDocument/2006/relationships/tags" Target="../tags/tag131.xml"/><Relationship Id="rId62" Type="http://schemas.openxmlformats.org/officeDocument/2006/relationships/tags" Target="../tags/tag139.xml"/><Relationship Id="rId70" Type="http://schemas.openxmlformats.org/officeDocument/2006/relationships/oleObject" Target="../embeddings/oleObject12.bin"/><Relationship Id="rId1" Type="http://schemas.openxmlformats.org/officeDocument/2006/relationships/vmlDrawing" Target="../drawings/vmlDrawing12.vml"/><Relationship Id="rId6" Type="http://schemas.openxmlformats.org/officeDocument/2006/relationships/tags" Target="../tags/tag83.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tags" Target="../tags/tag105.xml"/><Relationship Id="rId36" Type="http://schemas.openxmlformats.org/officeDocument/2006/relationships/tags" Target="../tags/tag113.xml"/><Relationship Id="rId49" Type="http://schemas.openxmlformats.org/officeDocument/2006/relationships/tags" Target="../tags/tag126.xml"/><Relationship Id="rId57" Type="http://schemas.openxmlformats.org/officeDocument/2006/relationships/tags" Target="../tags/tag134.xml"/><Relationship Id="rId10" Type="http://schemas.openxmlformats.org/officeDocument/2006/relationships/tags" Target="../tags/tag87.xml"/><Relationship Id="rId31" Type="http://schemas.openxmlformats.org/officeDocument/2006/relationships/tags" Target="../tags/tag108.xml"/><Relationship Id="rId44" Type="http://schemas.openxmlformats.org/officeDocument/2006/relationships/tags" Target="../tags/tag121.xml"/><Relationship Id="rId52" Type="http://schemas.openxmlformats.org/officeDocument/2006/relationships/tags" Target="../tags/tag129.xml"/><Relationship Id="rId60" Type="http://schemas.openxmlformats.org/officeDocument/2006/relationships/tags" Target="../tags/tag137.xml"/><Relationship Id="rId65" Type="http://schemas.openxmlformats.org/officeDocument/2006/relationships/tags" Target="../tags/tag142.xml"/><Relationship Id="rId4" Type="http://schemas.openxmlformats.org/officeDocument/2006/relationships/tags" Target="../tags/tag81.xml"/><Relationship Id="rId9" Type="http://schemas.openxmlformats.org/officeDocument/2006/relationships/tags" Target="../tags/tag86.xml"/><Relationship Id="rId13" Type="http://schemas.openxmlformats.org/officeDocument/2006/relationships/tags" Target="../tags/tag90.xml"/><Relationship Id="rId18" Type="http://schemas.openxmlformats.org/officeDocument/2006/relationships/tags" Target="../tags/tag95.xml"/><Relationship Id="rId39" Type="http://schemas.openxmlformats.org/officeDocument/2006/relationships/tags" Target="../tags/tag116.xml"/><Relationship Id="rId34" Type="http://schemas.openxmlformats.org/officeDocument/2006/relationships/tags" Target="../tags/tag111.xml"/><Relationship Id="rId50" Type="http://schemas.openxmlformats.org/officeDocument/2006/relationships/tags" Target="../tags/tag127.xml"/><Relationship Id="rId55" Type="http://schemas.openxmlformats.org/officeDocument/2006/relationships/tags" Target="../tags/tag132.xml"/></Relationships>
</file>

<file path=ppt/slides/_rels/slide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8.xml"/><Relationship Id="rId4" Type="http://schemas.openxmlformats.org/officeDocument/2006/relationships/image" Target="../media/image34.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err="1"/>
              <a:t>TAU’s</a:t>
            </a:r>
            <a:r>
              <a:rPr lang="da-DK" dirty="0"/>
              <a:t> arbejdsprogram</a:t>
            </a:r>
          </a:p>
          <a:p>
            <a:endParaRPr lang="da-DK" sz="1050" dirty="0"/>
          </a:p>
          <a:p>
            <a:r>
              <a:rPr lang="da-DK" sz="1050" dirty="0"/>
              <a:t>Version 1.4</a:t>
            </a:r>
          </a:p>
        </p:txBody>
      </p:sp>
      <p:sp>
        <p:nvSpPr>
          <p:cNvPr id="5" name="Tekstfelt 4">
            <a:extLst>
              <a:ext uri="{FF2B5EF4-FFF2-40B4-BE49-F238E27FC236}">
                <a16:creationId xmlns:a16="http://schemas.microsoft.com/office/drawing/2014/main" id="{DD98AEE2-6ECA-418F-BB4C-2CFCE6FB27A9}"/>
              </a:ext>
            </a:extLst>
          </p:cNvPr>
          <p:cNvSpPr txBox="1"/>
          <p:nvPr/>
        </p:nvSpPr>
        <p:spPr>
          <a:xfrm>
            <a:off x="7387282" y="152508"/>
            <a:ext cx="1728192" cy="520742"/>
          </a:xfrm>
          <a:prstGeom prst="rect">
            <a:avLst/>
          </a:prstGeom>
          <a:solidFill>
            <a:srgbClr val="009CAC"/>
          </a:solidFill>
          <a:effectLst>
            <a:softEdge rad="12700"/>
          </a:effectLst>
        </p:spPr>
        <p:txBody>
          <a:bodyPr wrap="square" rtlCol="0">
            <a:spAutoFit/>
          </a:bodyPr>
          <a:lstStyle/>
          <a:p>
            <a:endParaRPr lang="da-DK" dirty="0"/>
          </a:p>
        </p:txBody>
      </p:sp>
      <p:sp>
        <p:nvSpPr>
          <p:cNvPr id="8" name="Tekstfelt 7">
            <a:extLst>
              <a:ext uri="{FF2B5EF4-FFF2-40B4-BE49-F238E27FC236}">
                <a16:creationId xmlns:a16="http://schemas.microsoft.com/office/drawing/2014/main" id="{E5BE8124-957E-4D57-94A5-9DA88D0CE46E}"/>
              </a:ext>
            </a:extLst>
          </p:cNvPr>
          <p:cNvSpPr txBox="1"/>
          <p:nvPr/>
        </p:nvSpPr>
        <p:spPr>
          <a:xfrm>
            <a:off x="7949903" y="274379"/>
            <a:ext cx="1205673" cy="184666"/>
          </a:xfrm>
          <a:prstGeom prst="rect">
            <a:avLst/>
          </a:prstGeom>
          <a:noFill/>
        </p:spPr>
        <p:txBody>
          <a:bodyPr wrap="square" rtlCol="0">
            <a:spAutoFit/>
          </a:bodyPr>
          <a:lstStyle/>
          <a:p>
            <a:r>
              <a:rPr lang="da-DK" sz="600" b="1" dirty="0">
                <a:solidFill>
                  <a:schemeClr val="bg1"/>
                </a:solidFill>
              </a:rPr>
              <a:t>Klimadatastyrelsen</a:t>
            </a:r>
          </a:p>
        </p:txBody>
      </p:sp>
      <p:pic>
        <p:nvPicPr>
          <p:cNvPr id="7" name="Picture 2" descr="Klima, Energi- og Forsyningsministeriet">
            <a:extLst>
              <a:ext uri="{FF2B5EF4-FFF2-40B4-BE49-F238E27FC236}">
                <a16:creationId xmlns:a16="http://schemas.microsoft.com/office/drawing/2014/main" id="{19C302A3-6487-4778-A4EC-829A3CAEFA39}"/>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a:stretch/>
        </p:blipFill>
        <p:spPr bwMode="auto">
          <a:xfrm>
            <a:off x="7524328" y="175365"/>
            <a:ext cx="546877" cy="47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70" imgW="347" imgH="348" progId="TCLayout.ActiveDocument.1">
                  <p:embed/>
                </p:oleObj>
              </mc:Choice>
              <mc:Fallback>
                <p:oleObj name="think-cell Slide" r:id="rId70" imgW="347" imgH="348" progId="TCLayout.ActiveDocument.1">
                  <p:embed/>
                  <p:pic>
                    <p:nvPicPr>
                      <p:cNvPr id="63" name="think-cell data - do not delete" hidden="1"/>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 name="Pladsholder til dato 1"/>
          <p:cNvSpPr>
            <a:spLocks noGrp="1"/>
          </p:cNvSpPr>
          <p:nvPr>
            <p:ph type="dt" sz="half" idx="17"/>
          </p:nvPr>
        </p:nvSpPr>
        <p:spPr/>
        <p:txBody>
          <a:bodyPr/>
          <a:lstStyle/>
          <a:p>
            <a:fld id="{D6C43E05-5416-43CC-9354-A0F970D8A001}" type="datetime2">
              <a:rPr lang="da-DK" smtClean="0"/>
              <a:pPr/>
              <a:t>17.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10</a:t>
            </a:fld>
            <a:endParaRPr lang="da-DK" dirty="0"/>
          </a:p>
        </p:txBody>
      </p:sp>
      <p:pic>
        <p:nvPicPr>
          <p:cNvPr id="261" name="Billede 260" descr="https://sdfe.sdfewebh-spf01p.prod.sitad.dk/Nyhedsarkiv/PublishingImages/Faglig/Klimadatastyrelsen.jpg">
            <a:extLst>
              <a:ext uri="{FF2B5EF4-FFF2-40B4-BE49-F238E27FC236}">
                <a16:creationId xmlns:a16="http://schemas.microsoft.com/office/drawing/2014/main" id="{74518F34-9E4D-45FE-838F-B6264516DEF4}"/>
              </a:ext>
            </a:extLst>
          </p:cNvPr>
          <p:cNvPicPr/>
          <p:nvPr/>
        </p:nvPicPr>
        <p:blipFill>
          <a:blip r:embed="rId72" cstate="hqprint">
            <a:extLst>
              <a:ext uri="{28A0092B-C50C-407E-A947-70E740481C1C}">
                <a14:useLocalDpi xmlns:a14="http://schemas.microsoft.com/office/drawing/2010/main" val="0"/>
              </a:ext>
            </a:extLst>
          </a:blip>
          <a:srcRect/>
          <a:stretch>
            <a:fillRect/>
          </a:stretch>
        </p:blipFill>
        <p:spPr bwMode="auto">
          <a:xfrm>
            <a:off x="109281" y="4710782"/>
            <a:ext cx="1164882" cy="332976"/>
          </a:xfrm>
          <a:prstGeom prst="rect">
            <a:avLst/>
          </a:prstGeom>
          <a:noFill/>
          <a:ln>
            <a:noFill/>
          </a:ln>
        </p:spPr>
      </p:pic>
      <p:sp>
        <p:nvSpPr>
          <p:cNvPr id="193" name="Rektangel 192">
            <a:extLst>
              <a:ext uri="{FF2B5EF4-FFF2-40B4-BE49-F238E27FC236}">
                <a16:creationId xmlns:a16="http://schemas.microsoft.com/office/drawing/2014/main" id="{8286C82E-6467-474A-8828-13EC2217E7BA}"/>
              </a:ext>
            </a:extLst>
          </p:cNvPr>
          <p:cNvSpPr/>
          <p:nvPr>
            <p:custDataLst>
              <p:tags r:id="rId3"/>
            </p:custDataLst>
          </p:nvPr>
        </p:nvSpPr>
        <p:spPr bwMode="auto">
          <a:xfrm>
            <a:off x="323851" y="860425"/>
            <a:ext cx="8380413" cy="33178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5" name="Rektangel 194">
            <a:extLst>
              <a:ext uri="{FF2B5EF4-FFF2-40B4-BE49-F238E27FC236}">
                <a16:creationId xmlns:a16="http://schemas.microsoft.com/office/drawing/2014/main" id="{87D9DA46-12FF-4689-9315-7E7B87DDD126}"/>
              </a:ext>
            </a:extLst>
          </p:cNvPr>
          <p:cNvSpPr/>
          <p:nvPr>
            <p:custDataLst>
              <p:tags r:id="rId4"/>
            </p:custDataLst>
          </p:nvPr>
        </p:nvSpPr>
        <p:spPr bwMode="auto">
          <a:xfrm>
            <a:off x="323851" y="1192213"/>
            <a:ext cx="8380413" cy="454025"/>
          </a:xfrm>
          <a:prstGeom prst="rect">
            <a:avLst/>
          </a:prstGeom>
          <a:solidFill>
            <a:srgbClr val="FFFFF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6" name="Pladsholder til tekst 3">
            <a:extLst>
              <a:ext uri="{FF2B5EF4-FFF2-40B4-BE49-F238E27FC236}">
                <a16:creationId xmlns:a16="http://schemas.microsoft.com/office/drawing/2014/main" id="{D49B50A4-4E09-4B74-8D7F-03D8B155147F}"/>
              </a:ext>
            </a:extLst>
          </p:cNvPr>
          <p:cNvSpPr>
            <a:spLocks noGrp="1"/>
          </p:cNvSpPr>
          <p:nvPr>
            <p:custDataLst>
              <p:tags r:id="rId5"/>
            </p:custDataLst>
          </p:nvPr>
        </p:nvSpPr>
        <p:spPr bwMode="auto">
          <a:xfrm>
            <a:off x="2849564" y="339725"/>
            <a:ext cx="1177925"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da-DK" altLang="en-US" b="1" dirty="0"/>
              <a:t>2024</a:t>
            </a:r>
            <a:endParaRPr lang="da-DK" b="1" dirty="0"/>
          </a:p>
        </p:txBody>
      </p:sp>
      <p:sp>
        <p:nvSpPr>
          <p:cNvPr id="209" name="Pladsholder til tekst 3">
            <a:extLst>
              <a:ext uri="{FF2B5EF4-FFF2-40B4-BE49-F238E27FC236}">
                <a16:creationId xmlns:a16="http://schemas.microsoft.com/office/drawing/2014/main" id="{40A03654-4B8F-4E99-8737-707EF563D99D}"/>
              </a:ext>
            </a:extLst>
          </p:cNvPr>
          <p:cNvSpPr>
            <a:spLocks noGrp="1"/>
          </p:cNvSpPr>
          <p:nvPr>
            <p:custDataLst>
              <p:tags r:id="rId6"/>
            </p:custDataLst>
          </p:nvPr>
        </p:nvSpPr>
        <p:spPr bwMode="auto">
          <a:xfrm>
            <a:off x="4027489" y="339725"/>
            <a:ext cx="4676775"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da-DK" altLang="en-US" b="1" dirty="0"/>
              <a:t>2025</a:t>
            </a:r>
            <a:endParaRPr lang="da-DK" b="1" dirty="0"/>
          </a:p>
        </p:txBody>
      </p:sp>
      <p:sp>
        <p:nvSpPr>
          <p:cNvPr id="211" name="Pladsholder til tekst 3">
            <a:extLst>
              <a:ext uri="{FF2B5EF4-FFF2-40B4-BE49-F238E27FC236}">
                <a16:creationId xmlns:a16="http://schemas.microsoft.com/office/drawing/2014/main" id="{03BE0F6C-CCDF-4A46-AB49-167689D19FC6}"/>
              </a:ext>
            </a:extLst>
          </p:cNvPr>
          <p:cNvSpPr>
            <a:spLocks noGrp="1"/>
          </p:cNvSpPr>
          <p:nvPr>
            <p:custDataLst>
              <p:tags r:id="rId7"/>
            </p:custDataLst>
          </p:nvPr>
        </p:nvSpPr>
        <p:spPr bwMode="auto">
          <a:xfrm>
            <a:off x="2849563" y="600075"/>
            <a:ext cx="3968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59B4736-DA41-4B86-95F7-95B0B9DC01E8}" type="datetime'''''''''''''''''''o''''''''k''''''t'''''''''''''''''''">
              <a:rPr lang="da-DK" altLang="en-US" b="1" smtClean="0"/>
              <a:pPr/>
              <a:t>okt</a:t>
            </a:fld>
            <a:endParaRPr lang="da-DK" b="1" dirty="0"/>
          </a:p>
        </p:txBody>
      </p:sp>
      <p:sp>
        <p:nvSpPr>
          <p:cNvPr id="212" name="Pladsholder til tekst 3">
            <a:extLst>
              <a:ext uri="{FF2B5EF4-FFF2-40B4-BE49-F238E27FC236}">
                <a16:creationId xmlns:a16="http://schemas.microsoft.com/office/drawing/2014/main" id="{DAC11BA7-5D13-427F-A49F-CACFB8B79FAF}"/>
              </a:ext>
            </a:extLst>
          </p:cNvPr>
          <p:cNvSpPr>
            <a:spLocks noGrp="1"/>
          </p:cNvSpPr>
          <p:nvPr>
            <p:custDataLst>
              <p:tags r:id="rId8"/>
            </p:custDataLst>
          </p:nvPr>
        </p:nvSpPr>
        <p:spPr bwMode="auto">
          <a:xfrm>
            <a:off x="3246438" y="600075"/>
            <a:ext cx="3841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26CB288-C6A0-4A06-A22B-57736725FE21}" type="datetime'''''n''''''''''''''''''''''''''ov'''''''''''''''''''''">
              <a:rPr lang="da-DK" altLang="en-US" b="1" smtClean="0"/>
              <a:pPr/>
              <a:t>nov</a:t>
            </a:fld>
            <a:endParaRPr lang="da-DK" b="1" dirty="0"/>
          </a:p>
        </p:txBody>
      </p:sp>
      <p:sp>
        <p:nvSpPr>
          <p:cNvPr id="213" name="Pladsholder til tekst 3">
            <a:extLst>
              <a:ext uri="{FF2B5EF4-FFF2-40B4-BE49-F238E27FC236}">
                <a16:creationId xmlns:a16="http://schemas.microsoft.com/office/drawing/2014/main" id="{95D97E8E-0F2C-47AF-9439-99BB3EBF1718}"/>
              </a:ext>
            </a:extLst>
          </p:cNvPr>
          <p:cNvSpPr>
            <a:spLocks noGrp="1"/>
          </p:cNvSpPr>
          <p:nvPr>
            <p:custDataLst>
              <p:tags r:id="rId9"/>
            </p:custDataLst>
          </p:nvPr>
        </p:nvSpPr>
        <p:spPr bwMode="auto">
          <a:xfrm>
            <a:off x="3630613" y="600075"/>
            <a:ext cx="3968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63AEED-B177-4E28-9B95-F95462EBB926}" type="datetime'''''''''''''''''''''''''''d''''''''''''e''''''''c'''">
              <a:rPr lang="da-DK" altLang="en-US" b="1" smtClean="0"/>
              <a:pPr/>
              <a:t>dec</a:t>
            </a:fld>
            <a:endParaRPr lang="da-DK" b="1" dirty="0"/>
          </a:p>
        </p:txBody>
      </p:sp>
      <p:sp>
        <p:nvSpPr>
          <p:cNvPr id="217" name="Pladsholder til tekst 3">
            <a:extLst>
              <a:ext uri="{FF2B5EF4-FFF2-40B4-BE49-F238E27FC236}">
                <a16:creationId xmlns:a16="http://schemas.microsoft.com/office/drawing/2014/main" id="{0D1C0B38-1FF0-4FBA-9A72-08BB9F93EB9D}"/>
              </a:ext>
            </a:extLst>
          </p:cNvPr>
          <p:cNvSpPr>
            <a:spLocks noGrp="1"/>
          </p:cNvSpPr>
          <p:nvPr>
            <p:custDataLst>
              <p:tags r:id="rId10"/>
            </p:custDataLst>
          </p:nvPr>
        </p:nvSpPr>
        <p:spPr bwMode="auto">
          <a:xfrm>
            <a:off x="4027488" y="600075"/>
            <a:ext cx="3984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2B1177-4EBA-4D4F-8B8E-1B57C6685770}" type="datetime'''''''''''j''''''''''''''''''''''''''''a''''n'''''''''">
              <a:rPr lang="da-DK" altLang="en-US" b="1" smtClean="0"/>
              <a:pPr/>
              <a:t>jan</a:t>
            </a:fld>
            <a:endParaRPr lang="da-DK" b="1" dirty="0"/>
          </a:p>
        </p:txBody>
      </p:sp>
      <p:sp>
        <p:nvSpPr>
          <p:cNvPr id="218" name="Pladsholder til tekst 3">
            <a:extLst>
              <a:ext uri="{FF2B5EF4-FFF2-40B4-BE49-F238E27FC236}">
                <a16:creationId xmlns:a16="http://schemas.microsoft.com/office/drawing/2014/main" id="{5D319629-A9FB-4634-BDAB-35E90302B178}"/>
              </a:ext>
            </a:extLst>
          </p:cNvPr>
          <p:cNvSpPr>
            <a:spLocks noGrp="1"/>
          </p:cNvSpPr>
          <p:nvPr>
            <p:custDataLst>
              <p:tags r:id="rId11"/>
            </p:custDataLst>
          </p:nvPr>
        </p:nvSpPr>
        <p:spPr bwMode="auto">
          <a:xfrm>
            <a:off x="4425950" y="600075"/>
            <a:ext cx="3587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C9BBC9-E093-4356-AC5D-B3FEAF074C33}" type="datetime'''''''f''''''''''''''''''''''''eb'''''''''''''''''">
              <a:rPr lang="da-DK" altLang="en-US" b="1" smtClean="0"/>
              <a:pPr/>
              <a:t>feb</a:t>
            </a:fld>
            <a:endParaRPr lang="da-DK" b="1" dirty="0"/>
          </a:p>
        </p:txBody>
      </p:sp>
      <p:sp>
        <p:nvSpPr>
          <p:cNvPr id="219" name="Pladsholder til tekst 3">
            <a:extLst>
              <a:ext uri="{FF2B5EF4-FFF2-40B4-BE49-F238E27FC236}">
                <a16:creationId xmlns:a16="http://schemas.microsoft.com/office/drawing/2014/main" id="{F4FDE7BE-72F1-4F61-94AF-B5B7DEA8BC7E}"/>
              </a:ext>
            </a:extLst>
          </p:cNvPr>
          <p:cNvSpPr>
            <a:spLocks noGrp="1"/>
          </p:cNvSpPr>
          <p:nvPr>
            <p:custDataLst>
              <p:tags r:id="rId12"/>
            </p:custDataLst>
          </p:nvPr>
        </p:nvSpPr>
        <p:spPr bwMode="auto">
          <a:xfrm>
            <a:off x="4784725" y="600075"/>
            <a:ext cx="3968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878AC9-7D27-48D9-AA92-38C3B92DCE81}" type="datetime'''''''''''''''''''''m''''''''''a''''''''''''''''r'''''">
              <a:rPr lang="da-DK" altLang="en-US" b="1" smtClean="0"/>
              <a:pPr/>
              <a:t>mar</a:t>
            </a:fld>
            <a:endParaRPr lang="da-DK" b="1" dirty="0"/>
          </a:p>
        </p:txBody>
      </p:sp>
      <p:sp>
        <p:nvSpPr>
          <p:cNvPr id="220" name="Pladsholder til tekst 3">
            <a:extLst>
              <a:ext uri="{FF2B5EF4-FFF2-40B4-BE49-F238E27FC236}">
                <a16:creationId xmlns:a16="http://schemas.microsoft.com/office/drawing/2014/main" id="{0A5F1A39-0971-4AD6-981A-D000B88AECC5}"/>
              </a:ext>
            </a:extLst>
          </p:cNvPr>
          <p:cNvSpPr>
            <a:spLocks noGrp="1"/>
          </p:cNvSpPr>
          <p:nvPr>
            <p:custDataLst>
              <p:tags r:id="rId13"/>
            </p:custDataLst>
          </p:nvPr>
        </p:nvSpPr>
        <p:spPr bwMode="auto">
          <a:xfrm>
            <a:off x="5181600" y="600075"/>
            <a:ext cx="3841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DCED76-ED90-402F-91BD-B1A79FF21151}" type="datetime'''''''''''''''''a''''''p''''''''''''''''''''''r'''''''''">
              <a:rPr lang="da-DK" altLang="en-US" b="1" smtClean="0"/>
              <a:pPr/>
              <a:t>apr</a:t>
            </a:fld>
            <a:endParaRPr lang="da-DK" b="1" dirty="0"/>
          </a:p>
        </p:txBody>
      </p:sp>
      <p:sp>
        <p:nvSpPr>
          <p:cNvPr id="222" name="Pladsholder til tekst 3">
            <a:extLst>
              <a:ext uri="{FF2B5EF4-FFF2-40B4-BE49-F238E27FC236}">
                <a16:creationId xmlns:a16="http://schemas.microsoft.com/office/drawing/2014/main" id="{46A23A75-5804-4434-AE62-EE78A0CA4A1C}"/>
              </a:ext>
            </a:extLst>
          </p:cNvPr>
          <p:cNvSpPr>
            <a:spLocks noGrp="1"/>
          </p:cNvSpPr>
          <p:nvPr>
            <p:custDataLst>
              <p:tags r:id="rId14"/>
            </p:custDataLst>
          </p:nvPr>
        </p:nvSpPr>
        <p:spPr bwMode="auto">
          <a:xfrm>
            <a:off x="5565775" y="600075"/>
            <a:ext cx="3968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0D7B32-9862-44E3-83A1-8F28A0E12F7E}" type="datetime'''''''''m''''''''''''''''''''''''''aj'''">
              <a:rPr lang="da-DK" altLang="en-US" b="1" smtClean="0"/>
              <a:pPr/>
              <a:t>maj</a:t>
            </a:fld>
            <a:endParaRPr lang="da-DK" b="1" dirty="0"/>
          </a:p>
        </p:txBody>
      </p:sp>
      <p:sp>
        <p:nvSpPr>
          <p:cNvPr id="223" name="Pladsholder til tekst 3">
            <a:extLst>
              <a:ext uri="{FF2B5EF4-FFF2-40B4-BE49-F238E27FC236}">
                <a16:creationId xmlns:a16="http://schemas.microsoft.com/office/drawing/2014/main" id="{F6888EF9-C5D3-4BC9-9F25-910B8298FF51}"/>
              </a:ext>
            </a:extLst>
          </p:cNvPr>
          <p:cNvSpPr>
            <a:spLocks noGrp="1"/>
          </p:cNvSpPr>
          <p:nvPr>
            <p:custDataLst>
              <p:tags r:id="rId15"/>
            </p:custDataLst>
          </p:nvPr>
        </p:nvSpPr>
        <p:spPr bwMode="auto">
          <a:xfrm>
            <a:off x="5962650" y="600075"/>
            <a:ext cx="3841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A99CE1-E0B9-4549-A5CD-AD1CBD2B3B24}" type="datetime'''''''''j''''''''u''''''''''''''''''''n'''''''''''''''''''">
              <a:rPr lang="da-DK" altLang="en-US" b="1" smtClean="0"/>
              <a:pPr/>
              <a:t>jun</a:t>
            </a:fld>
            <a:endParaRPr lang="da-DK" b="1" dirty="0"/>
          </a:p>
        </p:txBody>
      </p:sp>
      <p:sp>
        <p:nvSpPr>
          <p:cNvPr id="225" name="Pladsholder til tekst 3">
            <a:extLst>
              <a:ext uri="{FF2B5EF4-FFF2-40B4-BE49-F238E27FC236}">
                <a16:creationId xmlns:a16="http://schemas.microsoft.com/office/drawing/2014/main" id="{357AF97B-EF16-4165-A96C-9434316A3D2B}"/>
              </a:ext>
            </a:extLst>
          </p:cNvPr>
          <p:cNvSpPr>
            <a:spLocks noGrp="1"/>
          </p:cNvSpPr>
          <p:nvPr>
            <p:custDataLst>
              <p:tags r:id="rId16"/>
            </p:custDataLst>
          </p:nvPr>
        </p:nvSpPr>
        <p:spPr bwMode="auto">
          <a:xfrm>
            <a:off x="6346825" y="600075"/>
            <a:ext cx="3968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931459-7110-441D-94A5-575CE3B4AF0B}" type="datetime'''''j''''''''''''u''''''''''''''''''''''''''''''''''''''''l'''">
              <a:rPr lang="da-DK" altLang="en-US" b="1" smtClean="0"/>
              <a:pPr/>
              <a:t>jul</a:t>
            </a:fld>
            <a:endParaRPr lang="da-DK" b="1" dirty="0"/>
          </a:p>
        </p:txBody>
      </p:sp>
      <p:sp>
        <p:nvSpPr>
          <p:cNvPr id="226" name="Pladsholder til tekst 3">
            <a:extLst>
              <a:ext uri="{FF2B5EF4-FFF2-40B4-BE49-F238E27FC236}">
                <a16:creationId xmlns:a16="http://schemas.microsoft.com/office/drawing/2014/main" id="{E7F46300-56E3-49D9-B554-FD949D491AE0}"/>
              </a:ext>
            </a:extLst>
          </p:cNvPr>
          <p:cNvSpPr>
            <a:spLocks noGrp="1"/>
          </p:cNvSpPr>
          <p:nvPr>
            <p:custDataLst>
              <p:tags r:id="rId17"/>
            </p:custDataLst>
          </p:nvPr>
        </p:nvSpPr>
        <p:spPr bwMode="auto">
          <a:xfrm>
            <a:off x="6743700" y="600075"/>
            <a:ext cx="3968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8AA27BB-6FE2-4C7C-BA9D-0D6EC1B6DAD2}" type="datetime'a''''''''''''''''''u''''''''''''''''''g'''">
              <a:rPr lang="da-DK" altLang="en-US" b="1" smtClean="0"/>
              <a:pPr/>
              <a:t>aug</a:t>
            </a:fld>
            <a:endParaRPr lang="da-DK" b="1" dirty="0"/>
          </a:p>
        </p:txBody>
      </p:sp>
      <p:sp>
        <p:nvSpPr>
          <p:cNvPr id="227" name="Pladsholder til tekst 3">
            <a:extLst>
              <a:ext uri="{FF2B5EF4-FFF2-40B4-BE49-F238E27FC236}">
                <a16:creationId xmlns:a16="http://schemas.microsoft.com/office/drawing/2014/main" id="{07A08E6E-78F2-4C21-B821-849074004C4E}"/>
              </a:ext>
            </a:extLst>
          </p:cNvPr>
          <p:cNvSpPr>
            <a:spLocks noGrp="1"/>
          </p:cNvSpPr>
          <p:nvPr>
            <p:custDataLst>
              <p:tags r:id="rId18"/>
            </p:custDataLst>
          </p:nvPr>
        </p:nvSpPr>
        <p:spPr bwMode="auto">
          <a:xfrm>
            <a:off x="7140575" y="600075"/>
            <a:ext cx="3857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DF8B29-02DB-4DDB-89C6-0C56C15025FE}" type="datetime'''''s''''e''''''''''''''''''p'''''">
              <a:rPr lang="da-DK" altLang="en-US" b="1" smtClean="0"/>
              <a:pPr/>
              <a:t>sep</a:t>
            </a:fld>
            <a:endParaRPr lang="da-DK" b="1" dirty="0"/>
          </a:p>
        </p:txBody>
      </p:sp>
      <p:sp>
        <p:nvSpPr>
          <p:cNvPr id="228" name="Pladsholder til tekst 3">
            <a:extLst>
              <a:ext uri="{FF2B5EF4-FFF2-40B4-BE49-F238E27FC236}">
                <a16:creationId xmlns:a16="http://schemas.microsoft.com/office/drawing/2014/main" id="{8AEF79C0-9B5B-4F7F-90C5-D9B53AF93EEA}"/>
              </a:ext>
            </a:extLst>
          </p:cNvPr>
          <p:cNvSpPr>
            <a:spLocks noGrp="1"/>
          </p:cNvSpPr>
          <p:nvPr>
            <p:custDataLst>
              <p:tags r:id="rId19"/>
            </p:custDataLst>
          </p:nvPr>
        </p:nvSpPr>
        <p:spPr bwMode="auto">
          <a:xfrm>
            <a:off x="7526338" y="600075"/>
            <a:ext cx="3968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4C06F0-A1EA-4E1A-B567-CC34EA7CA282}" type="datetime'o''k''t'''''''''''''''''''''''''''''''''''''''''''''''''''''''">
              <a:rPr lang="da-DK" altLang="en-US" b="1" smtClean="0"/>
              <a:pPr/>
              <a:t>okt</a:t>
            </a:fld>
            <a:endParaRPr lang="da-DK" b="1" dirty="0"/>
          </a:p>
        </p:txBody>
      </p:sp>
      <p:sp>
        <p:nvSpPr>
          <p:cNvPr id="235" name="Pladsholder til tekst 3">
            <a:extLst>
              <a:ext uri="{FF2B5EF4-FFF2-40B4-BE49-F238E27FC236}">
                <a16:creationId xmlns:a16="http://schemas.microsoft.com/office/drawing/2014/main" id="{0D26F1CF-8AAA-4CA8-9466-A15C2481670B}"/>
              </a:ext>
            </a:extLst>
          </p:cNvPr>
          <p:cNvSpPr>
            <a:spLocks noGrp="1"/>
          </p:cNvSpPr>
          <p:nvPr>
            <p:custDataLst>
              <p:tags r:id="rId20"/>
            </p:custDataLst>
          </p:nvPr>
        </p:nvSpPr>
        <p:spPr bwMode="auto">
          <a:xfrm>
            <a:off x="7923213" y="600075"/>
            <a:ext cx="3841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60D535-AA2D-4A24-8503-7823541A02BD}" type="datetime'''''''''no''''''''''v'''''''''''''''''''''''''''''">
              <a:rPr lang="da-DK" altLang="en-US" b="1" smtClean="0"/>
              <a:pPr/>
              <a:t>nov</a:t>
            </a:fld>
            <a:endParaRPr lang="da-DK" b="1" dirty="0"/>
          </a:p>
        </p:txBody>
      </p:sp>
      <p:sp>
        <p:nvSpPr>
          <p:cNvPr id="238" name="Pladsholder til tekst 3">
            <a:extLst>
              <a:ext uri="{FF2B5EF4-FFF2-40B4-BE49-F238E27FC236}">
                <a16:creationId xmlns:a16="http://schemas.microsoft.com/office/drawing/2014/main" id="{1D280F5D-50DB-4FCB-A390-230BA9A14272}"/>
              </a:ext>
            </a:extLst>
          </p:cNvPr>
          <p:cNvSpPr>
            <a:spLocks noGrp="1"/>
          </p:cNvSpPr>
          <p:nvPr>
            <p:custDataLst>
              <p:tags r:id="rId21"/>
            </p:custDataLst>
          </p:nvPr>
        </p:nvSpPr>
        <p:spPr bwMode="auto">
          <a:xfrm>
            <a:off x="8307388" y="600075"/>
            <a:ext cx="3968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7089EB4-6F96-4CB8-B5FE-74EF00A98255}" type="datetime'''''''''''''''''''''''''''''''''''d''''''''''''''''e''c'''''">
              <a:rPr lang="da-DK" altLang="en-US" b="1" smtClean="0"/>
              <a:pPr/>
              <a:t>dec</a:t>
            </a:fld>
            <a:endParaRPr lang="da-DK" b="1" dirty="0"/>
          </a:p>
        </p:txBody>
      </p:sp>
      <p:cxnSp>
        <p:nvCxnSpPr>
          <p:cNvPr id="264" name="Lige forbindelse 263">
            <a:extLst>
              <a:ext uri="{FF2B5EF4-FFF2-40B4-BE49-F238E27FC236}">
                <a16:creationId xmlns:a16="http://schemas.microsoft.com/office/drawing/2014/main" id="{BC866BA8-29B3-495A-8963-0A1C0F61463F}"/>
              </a:ext>
            </a:extLst>
          </p:cNvPr>
          <p:cNvCxnSpPr/>
          <p:nvPr>
            <p:custDataLst>
              <p:tags r:id="rId22"/>
            </p:custDataLst>
          </p:nvPr>
        </p:nvCxnSpPr>
        <p:spPr bwMode="auto">
          <a:xfrm>
            <a:off x="3630613"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Lige forbindelse 264">
            <a:extLst>
              <a:ext uri="{FF2B5EF4-FFF2-40B4-BE49-F238E27FC236}">
                <a16:creationId xmlns:a16="http://schemas.microsoft.com/office/drawing/2014/main" id="{B041933B-8D35-42E4-A8BB-025199FF364D}"/>
              </a:ext>
            </a:extLst>
          </p:cNvPr>
          <p:cNvCxnSpPr/>
          <p:nvPr>
            <p:custDataLst>
              <p:tags r:id="rId23"/>
            </p:custDataLst>
          </p:nvPr>
        </p:nvCxnSpPr>
        <p:spPr bwMode="auto">
          <a:xfrm>
            <a:off x="4027488"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a:extLst>
              <a:ext uri="{FF2B5EF4-FFF2-40B4-BE49-F238E27FC236}">
                <a16:creationId xmlns:a16="http://schemas.microsoft.com/office/drawing/2014/main" id="{3407A8A9-47F7-4D1A-9BB1-03DED4EE751A}"/>
              </a:ext>
            </a:extLst>
          </p:cNvPr>
          <p:cNvCxnSpPr/>
          <p:nvPr>
            <p:custDataLst>
              <p:tags r:id="rId24"/>
            </p:custDataLst>
          </p:nvPr>
        </p:nvCxnSpPr>
        <p:spPr bwMode="auto">
          <a:xfrm>
            <a:off x="4425950"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a:extLst>
              <a:ext uri="{FF2B5EF4-FFF2-40B4-BE49-F238E27FC236}">
                <a16:creationId xmlns:a16="http://schemas.microsoft.com/office/drawing/2014/main" id="{C3A62787-08AC-4F00-96F5-38EEB28CD9BA}"/>
              </a:ext>
            </a:extLst>
          </p:cNvPr>
          <p:cNvCxnSpPr/>
          <p:nvPr>
            <p:custDataLst>
              <p:tags r:id="rId25"/>
            </p:custDataLst>
          </p:nvPr>
        </p:nvCxnSpPr>
        <p:spPr bwMode="auto">
          <a:xfrm>
            <a:off x="4784725"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a:extLst>
              <a:ext uri="{FF2B5EF4-FFF2-40B4-BE49-F238E27FC236}">
                <a16:creationId xmlns:a16="http://schemas.microsoft.com/office/drawing/2014/main" id="{922759A0-620E-416B-A327-054B901F6386}"/>
              </a:ext>
            </a:extLst>
          </p:cNvPr>
          <p:cNvCxnSpPr/>
          <p:nvPr>
            <p:custDataLst>
              <p:tags r:id="rId26"/>
            </p:custDataLst>
          </p:nvPr>
        </p:nvCxnSpPr>
        <p:spPr bwMode="auto">
          <a:xfrm>
            <a:off x="5181600"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a:extLst>
              <a:ext uri="{FF2B5EF4-FFF2-40B4-BE49-F238E27FC236}">
                <a16:creationId xmlns:a16="http://schemas.microsoft.com/office/drawing/2014/main" id="{A520A668-E605-46FB-B797-BDC4587042FD}"/>
              </a:ext>
            </a:extLst>
          </p:cNvPr>
          <p:cNvCxnSpPr/>
          <p:nvPr>
            <p:custDataLst>
              <p:tags r:id="rId27"/>
            </p:custDataLst>
          </p:nvPr>
        </p:nvCxnSpPr>
        <p:spPr bwMode="auto">
          <a:xfrm>
            <a:off x="5565775"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a:extLst>
              <a:ext uri="{FF2B5EF4-FFF2-40B4-BE49-F238E27FC236}">
                <a16:creationId xmlns:a16="http://schemas.microsoft.com/office/drawing/2014/main" id="{89862991-8778-455B-B97E-BFD99B1EEF47}"/>
              </a:ext>
            </a:extLst>
          </p:cNvPr>
          <p:cNvCxnSpPr/>
          <p:nvPr>
            <p:custDataLst>
              <p:tags r:id="rId28"/>
            </p:custDataLst>
          </p:nvPr>
        </p:nvCxnSpPr>
        <p:spPr bwMode="auto">
          <a:xfrm>
            <a:off x="5962650"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a:extLst>
              <a:ext uri="{FF2B5EF4-FFF2-40B4-BE49-F238E27FC236}">
                <a16:creationId xmlns:a16="http://schemas.microsoft.com/office/drawing/2014/main" id="{C8D6C818-09A5-49C5-9712-2B692B30CBE6}"/>
              </a:ext>
            </a:extLst>
          </p:cNvPr>
          <p:cNvCxnSpPr/>
          <p:nvPr>
            <p:custDataLst>
              <p:tags r:id="rId29"/>
            </p:custDataLst>
          </p:nvPr>
        </p:nvCxnSpPr>
        <p:spPr bwMode="auto">
          <a:xfrm>
            <a:off x="6346825"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a:extLst>
              <a:ext uri="{FF2B5EF4-FFF2-40B4-BE49-F238E27FC236}">
                <a16:creationId xmlns:a16="http://schemas.microsoft.com/office/drawing/2014/main" id="{24ED9CB0-EA62-4B4D-B347-3A21510FAFB7}"/>
              </a:ext>
            </a:extLst>
          </p:cNvPr>
          <p:cNvCxnSpPr/>
          <p:nvPr>
            <p:custDataLst>
              <p:tags r:id="rId30"/>
            </p:custDataLst>
          </p:nvPr>
        </p:nvCxnSpPr>
        <p:spPr bwMode="auto">
          <a:xfrm>
            <a:off x="6743700"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a:extLst>
              <a:ext uri="{FF2B5EF4-FFF2-40B4-BE49-F238E27FC236}">
                <a16:creationId xmlns:a16="http://schemas.microsoft.com/office/drawing/2014/main" id="{C727B35E-A248-4A47-B27C-2CEA5E5005B3}"/>
              </a:ext>
            </a:extLst>
          </p:cNvPr>
          <p:cNvCxnSpPr/>
          <p:nvPr>
            <p:custDataLst>
              <p:tags r:id="rId31"/>
            </p:custDataLst>
          </p:nvPr>
        </p:nvCxnSpPr>
        <p:spPr bwMode="auto">
          <a:xfrm>
            <a:off x="7526338"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Lige forbindelse 255">
            <a:extLst>
              <a:ext uri="{FF2B5EF4-FFF2-40B4-BE49-F238E27FC236}">
                <a16:creationId xmlns:a16="http://schemas.microsoft.com/office/drawing/2014/main" id="{108A66C7-1DB2-481F-8575-A98697AF896B}"/>
              </a:ext>
            </a:extLst>
          </p:cNvPr>
          <p:cNvCxnSpPr/>
          <p:nvPr>
            <p:custDataLst>
              <p:tags r:id="rId32"/>
            </p:custDataLst>
          </p:nvPr>
        </p:nvCxnSpPr>
        <p:spPr bwMode="auto">
          <a:xfrm>
            <a:off x="7923213"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Lige forbindelse 256">
            <a:extLst>
              <a:ext uri="{FF2B5EF4-FFF2-40B4-BE49-F238E27FC236}">
                <a16:creationId xmlns:a16="http://schemas.microsoft.com/office/drawing/2014/main" id="{0D8E0CD4-10C6-4DD0-8B68-0771E503CEA6}"/>
              </a:ext>
            </a:extLst>
          </p:cNvPr>
          <p:cNvCxnSpPr/>
          <p:nvPr>
            <p:custDataLst>
              <p:tags r:id="rId33"/>
            </p:custDataLst>
          </p:nvPr>
        </p:nvCxnSpPr>
        <p:spPr bwMode="auto">
          <a:xfrm>
            <a:off x="8307388"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Lige forbindelse 257">
            <a:extLst>
              <a:ext uri="{FF2B5EF4-FFF2-40B4-BE49-F238E27FC236}">
                <a16:creationId xmlns:a16="http://schemas.microsoft.com/office/drawing/2014/main" id="{E540E5B6-0469-4B31-9432-D84EDC0A843A}"/>
              </a:ext>
            </a:extLst>
          </p:cNvPr>
          <p:cNvCxnSpPr/>
          <p:nvPr>
            <p:custDataLst>
              <p:tags r:id="rId34"/>
            </p:custDataLst>
          </p:nvPr>
        </p:nvCxnSpPr>
        <p:spPr bwMode="auto">
          <a:xfrm>
            <a:off x="2849563" y="860425"/>
            <a:ext cx="0" cy="35115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Lige forbindelse 262">
            <a:extLst>
              <a:ext uri="{FF2B5EF4-FFF2-40B4-BE49-F238E27FC236}">
                <a16:creationId xmlns:a16="http://schemas.microsoft.com/office/drawing/2014/main" id="{397BEDE5-216F-42F6-96E8-9DA140A4F759}"/>
              </a:ext>
            </a:extLst>
          </p:cNvPr>
          <p:cNvCxnSpPr/>
          <p:nvPr>
            <p:custDataLst>
              <p:tags r:id="rId35"/>
            </p:custDataLst>
          </p:nvPr>
        </p:nvCxnSpPr>
        <p:spPr bwMode="auto">
          <a:xfrm>
            <a:off x="8704263" y="860425"/>
            <a:ext cx="0" cy="35115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Lige forbindelse 261">
            <a:extLst>
              <a:ext uri="{FF2B5EF4-FFF2-40B4-BE49-F238E27FC236}">
                <a16:creationId xmlns:a16="http://schemas.microsoft.com/office/drawing/2014/main" id="{CE92119C-011C-42A7-A7B7-EB13262D0F7F}"/>
              </a:ext>
            </a:extLst>
          </p:cNvPr>
          <p:cNvCxnSpPr/>
          <p:nvPr>
            <p:custDataLst>
              <p:tags r:id="rId36"/>
            </p:custDataLst>
          </p:nvPr>
        </p:nvCxnSpPr>
        <p:spPr bwMode="auto">
          <a:xfrm>
            <a:off x="323850" y="860425"/>
            <a:ext cx="0" cy="35115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Lige forbindelse 252">
            <a:extLst>
              <a:ext uri="{FF2B5EF4-FFF2-40B4-BE49-F238E27FC236}">
                <a16:creationId xmlns:a16="http://schemas.microsoft.com/office/drawing/2014/main" id="{778C9404-F877-4D78-A14C-AA91F51FE888}"/>
              </a:ext>
            </a:extLst>
          </p:cNvPr>
          <p:cNvCxnSpPr/>
          <p:nvPr>
            <p:custDataLst>
              <p:tags r:id="rId37"/>
            </p:custDataLst>
          </p:nvPr>
        </p:nvCxnSpPr>
        <p:spPr bwMode="auto">
          <a:xfrm>
            <a:off x="7140575"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Lige forbindelse 249">
            <a:extLst>
              <a:ext uri="{FF2B5EF4-FFF2-40B4-BE49-F238E27FC236}">
                <a16:creationId xmlns:a16="http://schemas.microsoft.com/office/drawing/2014/main" id="{BD25F779-E698-4BB3-BC36-235F755AF21A}"/>
              </a:ext>
            </a:extLst>
          </p:cNvPr>
          <p:cNvCxnSpPr/>
          <p:nvPr>
            <p:custDataLst>
              <p:tags r:id="rId38"/>
            </p:custDataLst>
          </p:nvPr>
        </p:nvCxnSpPr>
        <p:spPr bwMode="auto">
          <a:xfrm>
            <a:off x="3246438"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Lige forbindelse 265">
            <a:extLst>
              <a:ext uri="{FF2B5EF4-FFF2-40B4-BE49-F238E27FC236}">
                <a16:creationId xmlns:a16="http://schemas.microsoft.com/office/drawing/2014/main" id="{6C7C5FC1-B826-4762-A75A-6015AFE5A543}"/>
              </a:ext>
            </a:extLst>
          </p:cNvPr>
          <p:cNvCxnSpPr/>
          <p:nvPr>
            <p:custDataLst>
              <p:tags r:id="rId39"/>
            </p:custDataLst>
          </p:nvPr>
        </p:nvCxnSpPr>
        <p:spPr bwMode="auto">
          <a:xfrm>
            <a:off x="323851" y="1192213"/>
            <a:ext cx="83804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Lige forbindelse 266">
            <a:extLst>
              <a:ext uri="{FF2B5EF4-FFF2-40B4-BE49-F238E27FC236}">
                <a16:creationId xmlns:a16="http://schemas.microsoft.com/office/drawing/2014/main" id="{A593C340-E1E8-4D44-9EE6-F0713B41C971}"/>
              </a:ext>
            </a:extLst>
          </p:cNvPr>
          <p:cNvCxnSpPr/>
          <p:nvPr>
            <p:custDataLst>
              <p:tags r:id="rId40"/>
            </p:custDataLst>
          </p:nvPr>
        </p:nvCxnSpPr>
        <p:spPr bwMode="auto">
          <a:xfrm>
            <a:off x="323851" y="1646238"/>
            <a:ext cx="83804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Lige forbindelse 267">
            <a:extLst>
              <a:ext uri="{FF2B5EF4-FFF2-40B4-BE49-F238E27FC236}">
                <a16:creationId xmlns:a16="http://schemas.microsoft.com/office/drawing/2014/main" id="{74D87315-3A8F-4302-B73C-BE178A98C383}"/>
              </a:ext>
            </a:extLst>
          </p:cNvPr>
          <p:cNvCxnSpPr/>
          <p:nvPr>
            <p:custDataLst>
              <p:tags r:id="rId41"/>
            </p:custDataLst>
          </p:nvPr>
        </p:nvCxnSpPr>
        <p:spPr bwMode="auto">
          <a:xfrm>
            <a:off x="323851" y="2100263"/>
            <a:ext cx="83804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Lige forbindelse 269">
            <a:extLst>
              <a:ext uri="{FF2B5EF4-FFF2-40B4-BE49-F238E27FC236}">
                <a16:creationId xmlns:a16="http://schemas.microsoft.com/office/drawing/2014/main" id="{D5E99569-0FFC-40EE-91D6-550C46928889}"/>
              </a:ext>
            </a:extLst>
          </p:cNvPr>
          <p:cNvCxnSpPr/>
          <p:nvPr>
            <p:custDataLst>
              <p:tags r:id="rId42"/>
            </p:custDataLst>
          </p:nvPr>
        </p:nvCxnSpPr>
        <p:spPr bwMode="auto">
          <a:xfrm>
            <a:off x="323851" y="3009900"/>
            <a:ext cx="83804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Lige forbindelse 273">
            <a:extLst>
              <a:ext uri="{FF2B5EF4-FFF2-40B4-BE49-F238E27FC236}">
                <a16:creationId xmlns:a16="http://schemas.microsoft.com/office/drawing/2014/main" id="{FC33A9A6-D8A5-4F7E-992C-3D197EEF3AD9}"/>
              </a:ext>
            </a:extLst>
          </p:cNvPr>
          <p:cNvCxnSpPr/>
          <p:nvPr>
            <p:custDataLst>
              <p:tags r:id="rId43"/>
            </p:custDataLst>
          </p:nvPr>
        </p:nvCxnSpPr>
        <p:spPr bwMode="auto">
          <a:xfrm>
            <a:off x="323851" y="3463925"/>
            <a:ext cx="83804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Lige forbindelse 270">
            <a:extLst>
              <a:ext uri="{FF2B5EF4-FFF2-40B4-BE49-F238E27FC236}">
                <a16:creationId xmlns:a16="http://schemas.microsoft.com/office/drawing/2014/main" id="{FF5A4896-D9AA-49A3-B1A0-7BBA6947C36E}"/>
              </a:ext>
            </a:extLst>
          </p:cNvPr>
          <p:cNvCxnSpPr/>
          <p:nvPr>
            <p:custDataLst>
              <p:tags r:id="rId44"/>
            </p:custDataLst>
          </p:nvPr>
        </p:nvCxnSpPr>
        <p:spPr bwMode="auto">
          <a:xfrm>
            <a:off x="323851" y="3917950"/>
            <a:ext cx="83804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Lige forbindelse 268">
            <a:extLst>
              <a:ext uri="{FF2B5EF4-FFF2-40B4-BE49-F238E27FC236}">
                <a16:creationId xmlns:a16="http://schemas.microsoft.com/office/drawing/2014/main" id="{9E5DF550-288D-46D2-94EF-7EBF30273D8E}"/>
              </a:ext>
            </a:extLst>
          </p:cNvPr>
          <p:cNvCxnSpPr/>
          <p:nvPr>
            <p:custDataLst>
              <p:tags r:id="rId45"/>
            </p:custDataLst>
          </p:nvPr>
        </p:nvCxnSpPr>
        <p:spPr bwMode="auto">
          <a:xfrm>
            <a:off x="323851" y="2554288"/>
            <a:ext cx="83804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Lige forbindelse 274">
            <a:extLst>
              <a:ext uri="{FF2B5EF4-FFF2-40B4-BE49-F238E27FC236}">
                <a16:creationId xmlns:a16="http://schemas.microsoft.com/office/drawing/2014/main" id="{4DBCEB0D-9B7A-421A-A1FE-2A7A4A8A00A1}"/>
              </a:ext>
            </a:extLst>
          </p:cNvPr>
          <p:cNvCxnSpPr/>
          <p:nvPr>
            <p:custDataLst>
              <p:tags r:id="rId46"/>
            </p:custDataLst>
          </p:nvPr>
        </p:nvCxnSpPr>
        <p:spPr bwMode="auto">
          <a:xfrm>
            <a:off x="323851" y="4371975"/>
            <a:ext cx="838041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Lige forbindelse 275">
            <a:extLst>
              <a:ext uri="{FF2B5EF4-FFF2-40B4-BE49-F238E27FC236}">
                <a16:creationId xmlns:a16="http://schemas.microsoft.com/office/drawing/2014/main" id="{4A008080-23C5-41FE-807E-E4AA52A836B1}"/>
              </a:ext>
            </a:extLst>
          </p:cNvPr>
          <p:cNvCxnSpPr/>
          <p:nvPr>
            <p:custDataLst>
              <p:tags r:id="rId47"/>
            </p:custDataLst>
          </p:nvPr>
        </p:nvCxnSpPr>
        <p:spPr bwMode="auto">
          <a:xfrm>
            <a:off x="323851" y="860425"/>
            <a:ext cx="838041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Rektangel 39">
            <a:extLst>
              <a:ext uri="{FF2B5EF4-FFF2-40B4-BE49-F238E27FC236}">
                <a16:creationId xmlns:a16="http://schemas.microsoft.com/office/drawing/2014/main" id="{AB43FD59-378D-4FF9-A222-49480B3BFA77}"/>
              </a:ext>
            </a:extLst>
          </p:cNvPr>
          <p:cNvSpPr/>
          <p:nvPr>
            <p:custDataLst>
              <p:tags r:id="rId48"/>
            </p:custDataLst>
          </p:nvPr>
        </p:nvSpPr>
        <p:spPr bwMode="auto">
          <a:xfrm>
            <a:off x="2849563" y="2212975"/>
            <a:ext cx="463708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Rektangel 35">
            <a:extLst>
              <a:ext uri="{FF2B5EF4-FFF2-40B4-BE49-F238E27FC236}">
                <a16:creationId xmlns:a16="http://schemas.microsoft.com/office/drawing/2014/main" id="{44CD6026-F83A-4364-A22B-7FE0CBFEF9DA}"/>
              </a:ext>
            </a:extLst>
          </p:cNvPr>
          <p:cNvSpPr/>
          <p:nvPr>
            <p:custDataLst>
              <p:tags r:id="rId49"/>
            </p:custDataLst>
          </p:nvPr>
        </p:nvSpPr>
        <p:spPr bwMode="auto">
          <a:xfrm>
            <a:off x="2849563" y="1304926"/>
            <a:ext cx="2127250"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7" name="Rektangel 276">
            <a:extLst>
              <a:ext uri="{FF2B5EF4-FFF2-40B4-BE49-F238E27FC236}">
                <a16:creationId xmlns:a16="http://schemas.microsoft.com/office/drawing/2014/main" id="{70B4514C-18D9-4689-890D-D1910FFB0941}"/>
              </a:ext>
            </a:extLst>
          </p:cNvPr>
          <p:cNvSpPr/>
          <p:nvPr>
            <p:custDataLst>
              <p:tags r:id="rId50"/>
            </p:custDataLst>
          </p:nvPr>
        </p:nvSpPr>
        <p:spPr bwMode="auto">
          <a:xfrm>
            <a:off x="2849563" y="1758950"/>
            <a:ext cx="302418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9" name="Rektangel 278">
            <a:extLst>
              <a:ext uri="{FF2B5EF4-FFF2-40B4-BE49-F238E27FC236}">
                <a16:creationId xmlns:a16="http://schemas.microsoft.com/office/drawing/2014/main" id="{9A749A11-6EC6-44A2-BE52-59AF7AF03AE5}"/>
              </a:ext>
            </a:extLst>
          </p:cNvPr>
          <p:cNvSpPr/>
          <p:nvPr>
            <p:custDataLst>
              <p:tags r:id="rId51"/>
            </p:custDataLst>
          </p:nvPr>
        </p:nvSpPr>
        <p:spPr bwMode="auto">
          <a:xfrm>
            <a:off x="2849563" y="2668588"/>
            <a:ext cx="4637088" cy="98425"/>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19050" cap="flat" cmpd="sng" algn="ctr">
                <a:solidFill>
                  <a:schemeClr val="tx1"/>
                </a:solidFill>
                <a:prstDash val="dash"/>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1" name="Rektangel 280">
            <a:extLst>
              <a:ext uri="{FF2B5EF4-FFF2-40B4-BE49-F238E27FC236}">
                <a16:creationId xmlns:a16="http://schemas.microsoft.com/office/drawing/2014/main" id="{65E5C6AD-5B3F-401B-AE58-BA74C72B8998}"/>
              </a:ext>
            </a:extLst>
          </p:cNvPr>
          <p:cNvSpPr/>
          <p:nvPr>
            <p:custDataLst>
              <p:tags r:id="rId52"/>
            </p:custDataLst>
          </p:nvPr>
        </p:nvSpPr>
        <p:spPr bwMode="auto">
          <a:xfrm>
            <a:off x="2849563" y="3576638"/>
            <a:ext cx="3024188" cy="98425"/>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19050" cap="flat" cmpd="sng" algn="ctr">
                <a:solidFill>
                  <a:schemeClr val="tx1"/>
                </a:solidFill>
                <a:prstDash val="dash"/>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2" name="Pil: højre 281">
            <a:extLst>
              <a:ext uri="{FF2B5EF4-FFF2-40B4-BE49-F238E27FC236}">
                <a16:creationId xmlns:a16="http://schemas.microsoft.com/office/drawing/2014/main" id="{9301F106-BDC7-4F37-9A7F-1E56DC36F4D5}"/>
              </a:ext>
            </a:extLst>
          </p:cNvPr>
          <p:cNvSpPr/>
          <p:nvPr>
            <p:custDataLst>
              <p:tags r:id="rId53"/>
            </p:custDataLst>
          </p:nvPr>
        </p:nvSpPr>
        <p:spPr bwMode="auto">
          <a:xfrm>
            <a:off x="2849563" y="3981449"/>
            <a:ext cx="5970588" cy="196850"/>
          </a:xfrm>
          <a:prstGeom prst="rightArrow">
            <a:avLst>
              <a:gd name="adj1" fmla="val 50000"/>
              <a:gd name="adj2" fmla="val 40660"/>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19050" cap="flat" cmpd="sng" algn="ctr">
                <a:solidFill>
                  <a:schemeClr val="tx1"/>
                </a:solidFill>
                <a:prstDash val="dash"/>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6" name="Rektangel 65">
            <a:extLst>
              <a:ext uri="{FF2B5EF4-FFF2-40B4-BE49-F238E27FC236}">
                <a16:creationId xmlns:a16="http://schemas.microsoft.com/office/drawing/2014/main" id="{55E78494-1933-4803-AB9B-DD82EF1FF0C1}"/>
              </a:ext>
            </a:extLst>
          </p:cNvPr>
          <p:cNvSpPr/>
          <p:nvPr>
            <p:custDataLst>
              <p:tags r:id="rId54"/>
            </p:custDataLst>
          </p:nvPr>
        </p:nvSpPr>
        <p:spPr bwMode="auto">
          <a:xfrm>
            <a:off x="2849563" y="3132138"/>
            <a:ext cx="5854700" cy="79375"/>
          </a:xfrm>
          <a:prstGeom prst="rect">
            <a:avLst/>
          </a:prstGeom>
          <a:solidFill>
            <a:schemeClr val="bg1"/>
          </a:solidFill>
          <a:ln w="19050" cap="flat" cmpd="sng" algn="ctr">
            <a:solidFill>
              <a:schemeClr val="accent1"/>
            </a:solidFill>
            <a:prstDash val="dash"/>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ombe 38">
            <a:extLst>
              <a:ext uri="{FF2B5EF4-FFF2-40B4-BE49-F238E27FC236}">
                <a16:creationId xmlns:a16="http://schemas.microsoft.com/office/drawing/2014/main" id="{FEB49FE8-A4D0-4FBC-8C49-2239FA2DB6F4}"/>
              </a:ext>
            </a:extLst>
          </p:cNvPr>
          <p:cNvSpPr/>
          <p:nvPr>
            <p:custDataLst>
              <p:tags r:id="rId55"/>
            </p:custDataLst>
          </p:nvPr>
        </p:nvSpPr>
        <p:spPr bwMode="gray">
          <a:xfrm>
            <a:off x="4919663" y="1296988"/>
            <a:ext cx="114300" cy="114300"/>
          </a:xfrm>
          <a:prstGeom prst="diamond">
            <a:avLst/>
          </a:prstGeom>
          <a:solidFill>
            <a:srgbClr val="92D050"/>
          </a:solidFill>
          <a:ln w="9525" cap="flat" cmpd="sng" algn="ctr">
            <a:solidFill>
              <a:srgbClr val="92D05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3" name="Rombe 282">
            <a:extLst>
              <a:ext uri="{FF2B5EF4-FFF2-40B4-BE49-F238E27FC236}">
                <a16:creationId xmlns:a16="http://schemas.microsoft.com/office/drawing/2014/main" id="{A29FEBEF-6B00-403F-B891-F05142DA44B0}"/>
              </a:ext>
            </a:extLst>
          </p:cNvPr>
          <p:cNvSpPr/>
          <p:nvPr>
            <p:custDataLst>
              <p:tags r:id="rId56"/>
            </p:custDataLst>
          </p:nvPr>
        </p:nvSpPr>
        <p:spPr bwMode="gray">
          <a:xfrm>
            <a:off x="5816600" y="1751013"/>
            <a:ext cx="114300" cy="114300"/>
          </a:xfrm>
          <a:prstGeom prst="diamond">
            <a:avLst/>
          </a:prstGeom>
          <a:solidFill>
            <a:srgbClr val="92D050"/>
          </a:solidFill>
          <a:ln w="9525" cap="flat" cmpd="sng" algn="ctr">
            <a:solidFill>
              <a:srgbClr val="92D05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4" name="Rombe 63">
            <a:extLst>
              <a:ext uri="{FF2B5EF4-FFF2-40B4-BE49-F238E27FC236}">
                <a16:creationId xmlns:a16="http://schemas.microsoft.com/office/drawing/2014/main" id="{A193867A-EEB0-4EDF-888D-75346261135A}"/>
              </a:ext>
            </a:extLst>
          </p:cNvPr>
          <p:cNvSpPr/>
          <p:nvPr>
            <p:custDataLst>
              <p:tags r:id="rId57"/>
            </p:custDataLst>
          </p:nvPr>
        </p:nvSpPr>
        <p:spPr bwMode="gray">
          <a:xfrm>
            <a:off x="7429500" y="220503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5" name="Rombe 64">
            <a:extLst>
              <a:ext uri="{FF2B5EF4-FFF2-40B4-BE49-F238E27FC236}">
                <a16:creationId xmlns:a16="http://schemas.microsoft.com/office/drawing/2014/main" id="{B3E739DC-0DD9-4C66-9A8F-FBF5F69F03A1}"/>
              </a:ext>
            </a:extLst>
          </p:cNvPr>
          <p:cNvSpPr/>
          <p:nvPr>
            <p:custDataLst>
              <p:tags r:id="rId58"/>
            </p:custDataLst>
          </p:nvPr>
        </p:nvSpPr>
        <p:spPr bwMode="gray">
          <a:xfrm>
            <a:off x="7429500" y="2660650"/>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0" name="Rombe 69">
            <a:extLst>
              <a:ext uri="{FF2B5EF4-FFF2-40B4-BE49-F238E27FC236}">
                <a16:creationId xmlns:a16="http://schemas.microsoft.com/office/drawing/2014/main" id="{F2E6620E-2F1D-4331-81F8-4120284CDCB9}"/>
              </a:ext>
            </a:extLst>
          </p:cNvPr>
          <p:cNvSpPr/>
          <p:nvPr>
            <p:custDataLst>
              <p:tags r:id="rId59"/>
            </p:custDataLst>
          </p:nvPr>
        </p:nvSpPr>
        <p:spPr bwMode="gray">
          <a:xfrm>
            <a:off x="5816600" y="3568700"/>
            <a:ext cx="114300" cy="114300"/>
          </a:xfrm>
          <a:prstGeom prst="diamond">
            <a:avLst/>
          </a:prstGeom>
          <a:solidFill>
            <a:srgbClr val="92D050"/>
          </a:solidFill>
          <a:ln w="9525" cap="flat" cmpd="sng" algn="ctr">
            <a:solidFill>
              <a:srgbClr val="92D05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5" name="Pladsholder til tekst 3">
            <a:extLst>
              <a:ext uri="{FF2B5EF4-FFF2-40B4-BE49-F238E27FC236}">
                <a16:creationId xmlns:a16="http://schemas.microsoft.com/office/drawing/2014/main" id="{923ED1A0-FBFE-4927-A454-3D39E8C4DB55}"/>
              </a:ext>
            </a:extLst>
          </p:cNvPr>
          <p:cNvSpPr>
            <a:spLocks noGrp="1"/>
          </p:cNvSpPr>
          <p:nvPr>
            <p:custDataLst>
              <p:tags r:id="rId60"/>
            </p:custDataLst>
          </p:nvPr>
        </p:nvSpPr>
        <p:spPr bwMode="auto">
          <a:xfrm>
            <a:off x="395288" y="965200"/>
            <a:ext cx="4746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solidFill>
                  <a:schemeClr val="bg1"/>
                </a:solidFill>
              </a:rPr>
              <a:t>Leverancer</a:t>
            </a:r>
          </a:p>
        </p:txBody>
      </p:sp>
      <p:sp>
        <p:nvSpPr>
          <p:cNvPr id="286" name="Pladsholder til tekst 3">
            <a:extLst>
              <a:ext uri="{FF2B5EF4-FFF2-40B4-BE49-F238E27FC236}">
                <a16:creationId xmlns:a16="http://schemas.microsoft.com/office/drawing/2014/main" id="{297F9CB2-0584-428D-8A9D-E71661B5455E}"/>
              </a:ext>
            </a:extLst>
          </p:cNvPr>
          <p:cNvSpPr>
            <a:spLocks noGrp="1"/>
          </p:cNvSpPr>
          <p:nvPr>
            <p:custDataLst>
              <p:tags r:id="rId61"/>
            </p:custDataLst>
          </p:nvPr>
        </p:nvSpPr>
        <p:spPr bwMode="auto">
          <a:xfrm>
            <a:off x="395288" y="1296988"/>
            <a:ext cx="235426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t>Leverance 1</a:t>
            </a:r>
            <a:r>
              <a:rPr lang="da-DK" sz="800" dirty="0"/>
              <a:t>: </a:t>
            </a:r>
            <a:r>
              <a:rPr lang="da-DK" sz="800" dirty="0">
                <a:cs typeface="Calibri" panose="020F0502020204030204" pitchFamily="34" charset="0"/>
              </a:rPr>
              <a:t>Analyse af rammer for et dataøkosystem </a:t>
            </a:r>
          </a:p>
          <a:p>
            <a:pPr marL="0" indent="0">
              <a:spcBef>
                <a:spcPts val="0"/>
              </a:spcBef>
              <a:spcAft>
                <a:spcPts val="0"/>
              </a:spcAft>
              <a:buNone/>
              <a:defRPr/>
            </a:pPr>
            <a:r>
              <a:rPr lang="da-DK" sz="800" dirty="0">
                <a:cs typeface="Calibri" panose="020F0502020204030204" pitchFamily="34" charset="0"/>
              </a:rPr>
              <a:t>for forsyningsområdet</a:t>
            </a:r>
            <a:endParaRPr lang="da-DK" sz="800" b="1" dirty="0">
              <a:cs typeface="Calibri" panose="020F0502020204030204" pitchFamily="34" charset="0"/>
            </a:endParaRPr>
          </a:p>
        </p:txBody>
      </p:sp>
      <p:sp>
        <p:nvSpPr>
          <p:cNvPr id="287" name="Pladsholder til tekst 3">
            <a:extLst>
              <a:ext uri="{FF2B5EF4-FFF2-40B4-BE49-F238E27FC236}">
                <a16:creationId xmlns:a16="http://schemas.microsoft.com/office/drawing/2014/main" id="{D400BB39-27DE-432B-8446-9204D2084C6D}"/>
              </a:ext>
            </a:extLst>
          </p:cNvPr>
          <p:cNvSpPr>
            <a:spLocks noGrp="1"/>
          </p:cNvSpPr>
          <p:nvPr>
            <p:custDataLst>
              <p:tags r:id="rId62"/>
            </p:custDataLst>
          </p:nvPr>
        </p:nvSpPr>
        <p:spPr bwMode="auto">
          <a:xfrm>
            <a:off x="395288" y="1751013"/>
            <a:ext cx="219392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t>Leverance 2</a:t>
            </a:r>
            <a:r>
              <a:rPr lang="da-DK" sz="800" dirty="0"/>
              <a:t>: </a:t>
            </a:r>
            <a:r>
              <a:rPr lang="da-DK" sz="800" dirty="0">
                <a:cs typeface="Calibri" panose="020F0502020204030204" pitchFamily="34" charset="0"/>
              </a:rPr>
              <a:t>Fælles retningslinjer for begreber og </a:t>
            </a:r>
          </a:p>
          <a:p>
            <a:pPr marL="0" indent="0">
              <a:spcBef>
                <a:spcPts val="0"/>
              </a:spcBef>
              <a:spcAft>
                <a:spcPts val="0"/>
              </a:spcAft>
              <a:buNone/>
              <a:defRPr/>
            </a:pPr>
            <a:r>
              <a:rPr lang="da-DK" sz="800" dirty="0">
                <a:cs typeface="Calibri" panose="020F0502020204030204" pitchFamily="34" charset="0"/>
              </a:rPr>
              <a:t>deres relationer</a:t>
            </a:r>
          </a:p>
        </p:txBody>
      </p:sp>
      <p:sp>
        <p:nvSpPr>
          <p:cNvPr id="288" name="Pladsholder til tekst 3">
            <a:extLst>
              <a:ext uri="{FF2B5EF4-FFF2-40B4-BE49-F238E27FC236}">
                <a16:creationId xmlns:a16="http://schemas.microsoft.com/office/drawing/2014/main" id="{52E4C46D-8790-41F1-8419-2F44F41F14DB}"/>
              </a:ext>
            </a:extLst>
          </p:cNvPr>
          <p:cNvSpPr>
            <a:spLocks noGrp="1"/>
          </p:cNvSpPr>
          <p:nvPr>
            <p:custDataLst>
              <p:tags r:id="rId63"/>
            </p:custDataLst>
          </p:nvPr>
        </p:nvSpPr>
        <p:spPr bwMode="auto">
          <a:xfrm>
            <a:off x="395288" y="2205038"/>
            <a:ext cx="233362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altLang="en-US" sz="800" b="1" dirty="0"/>
              <a:t>Leverance </a:t>
            </a:r>
            <a:r>
              <a:rPr lang="da-DK" sz="800" b="1" dirty="0">
                <a:solidFill>
                  <a:schemeClr val="dk1"/>
                </a:solidFill>
              </a:rPr>
              <a:t>3:</a:t>
            </a:r>
            <a:r>
              <a:rPr lang="da-DK" sz="800" dirty="0">
                <a:solidFill>
                  <a:schemeClr val="dk1"/>
                </a:solidFill>
              </a:rPr>
              <a:t> </a:t>
            </a:r>
            <a:r>
              <a:rPr lang="da-DK" sz="800" dirty="0">
                <a:cs typeface="Calibri" panose="020F0502020204030204" pitchFamily="34" charset="0"/>
              </a:rPr>
              <a:t>Fælles retningslinjer for dataformater og</a:t>
            </a:r>
          </a:p>
          <a:p>
            <a:pPr marL="0" indent="0">
              <a:spcBef>
                <a:spcPts val="0"/>
              </a:spcBef>
              <a:spcAft>
                <a:spcPts val="0"/>
              </a:spcAft>
              <a:buNone/>
              <a:defRPr/>
            </a:pPr>
            <a:r>
              <a:rPr lang="da-DK" sz="800" dirty="0">
                <a:cs typeface="Calibri" panose="020F0502020204030204" pitchFamily="34" charset="0"/>
              </a:rPr>
              <a:t>metadata for forbrugs- og produktionsdata</a:t>
            </a:r>
          </a:p>
        </p:txBody>
      </p:sp>
      <p:sp>
        <p:nvSpPr>
          <p:cNvPr id="290" name="Pladsholder til tekst 3">
            <a:extLst>
              <a:ext uri="{FF2B5EF4-FFF2-40B4-BE49-F238E27FC236}">
                <a16:creationId xmlns:a16="http://schemas.microsoft.com/office/drawing/2014/main" id="{96B97A96-34DD-4657-91DD-2C87B031228A}"/>
              </a:ext>
            </a:extLst>
          </p:cNvPr>
          <p:cNvSpPr>
            <a:spLocks noGrp="1"/>
          </p:cNvSpPr>
          <p:nvPr>
            <p:custDataLst>
              <p:tags r:id="rId64"/>
            </p:custDataLst>
          </p:nvPr>
        </p:nvSpPr>
        <p:spPr bwMode="auto">
          <a:xfrm>
            <a:off x="395288" y="3114675"/>
            <a:ext cx="21653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5</a:t>
            </a:r>
            <a:r>
              <a:rPr lang="da-DK" altLang="en-US" sz="800" dirty="0"/>
              <a:t>: </a:t>
            </a:r>
            <a:r>
              <a:rPr lang="da-DK" altLang="en-US" sz="800" dirty="0">
                <a:cs typeface="Calibri" panose="020F0502020204030204" pitchFamily="34" charset="0"/>
              </a:rPr>
              <a:t>Fælles retningslinjer for adgang- og </a:t>
            </a:r>
          </a:p>
          <a:p>
            <a:pPr marL="0" indent="0">
              <a:spcBef>
                <a:spcPct val="0"/>
              </a:spcBef>
              <a:spcAft>
                <a:spcPct val="0"/>
              </a:spcAft>
              <a:buNone/>
            </a:pPr>
            <a:r>
              <a:rPr lang="da-DK" altLang="en-US" sz="800" dirty="0">
                <a:cs typeface="Calibri" panose="020F0502020204030204" pitchFamily="34" charset="0"/>
              </a:rPr>
              <a:t>udveksling af forsyningsdata</a:t>
            </a:r>
            <a:endParaRPr lang="da-DK" sz="800" dirty="0"/>
          </a:p>
        </p:txBody>
      </p:sp>
      <p:sp>
        <p:nvSpPr>
          <p:cNvPr id="291" name="Pladsholder til tekst 3">
            <a:extLst>
              <a:ext uri="{FF2B5EF4-FFF2-40B4-BE49-F238E27FC236}">
                <a16:creationId xmlns:a16="http://schemas.microsoft.com/office/drawing/2014/main" id="{0BC6D56E-6FB2-4AB4-AC90-55FBA43E20A3}"/>
              </a:ext>
            </a:extLst>
          </p:cNvPr>
          <p:cNvSpPr>
            <a:spLocks noGrp="1"/>
          </p:cNvSpPr>
          <p:nvPr>
            <p:custDataLst>
              <p:tags r:id="rId65"/>
            </p:custDataLst>
          </p:nvPr>
        </p:nvSpPr>
        <p:spPr bwMode="auto">
          <a:xfrm>
            <a:off x="395288" y="3568700"/>
            <a:ext cx="237331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lang="da-DK" altLang="en-US" sz="800" b="1" dirty="0"/>
              <a:t>Leverance 6: </a:t>
            </a:r>
            <a:r>
              <a:rPr lang="da-DK" sz="800" dirty="0">
                <a:cs typeface="Calibri" panose="020F0502020204030204" pitchFamily="34" charset="0"/>
              </a:rPr>
              <a:t>Fælles retningslinjer for forsynings-</a:t>
            </a:r>
          </a:p>
          <a:p>
            <a:pPr marL="0" indent="0">
              <a:spcBef>
                <a:spcPct val="0"/>
              </a:spcBef>
              <a:spcAft>
                <a:spcPct val="0"/>
              </a:spcAft>
              <a:buNone/>
              <a:defRPr/>
            </a:pPr>
            <a:r>
              <a:rPr lang="da-DK" sz="800" dirty="0">
                <a:cs typeface="Calibri" panose="020F0502020204030204" pitchFamily="34" charset="0"/>
              </a:rPr>
              <a:t>sektorens anvendelse af grunddata, herunder adresser</a:t>
            </a:r>
          </a:p>
        </p:txBody>
      </p:sp>
      <p:sp>
        <p:nvSpPr>
          <p:cNvPr id="289" name="Pladsholder til tekst 3">
            <a:extLst>
              <a:ext uri="{FF2B5EF4-FFF2-40B4-BE49-F238E27FC236}">
                <a16:creationId xmlns:a16="http://schemas.microsoft.com/office/drawing/2014/main" id="{BB533C2C-5F56-4888-8E97-D8C8154025AA}"/>
              </a:ext>
            </a:extLst>
          </p:cNvPr>
          <p:cNvSpPr>
            <a:spLocks noGrp="1"/>
          </p:cNvSpPr>
          <p:nvPr>
            <p:custDataLst>
              <p:tags r:id="rId66"/>
            </p:custDataLst>
          </p:nvPr>
        </p:nvSpPr>
        <p:spPr bwMode="auto">
          <a:xfrm>
            <a:off x="395287" y="2660650"/>
            <a:ext cx="238283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solidFill>
                  <a:schemeClr val="dk1"/>
                </a:solidFill>
              </a:rPr>
              <a:t>Leverance 4</a:t>
            </a:r>
            <a:r>
              <a:rPr lang="da-DK" sz="800" dirty="0">
                <a:solidFill>
                  <a:schemeClr val="dk1"/>
                </a:solidFill>
              </a:rPr>
              <a:t>: </a:t>
            </a:r>
            <a:r>
              <a:rPr lang="da-DK" sz="800" dirty="0">
                <a:cs typeface="Calibri" panose="020F0502020204030204" pitchFamily="34" charset="0"/>
              </a:rPr>
              <a:t>Fælles retningslinjer vedr. datakvalitet og </a:t>
            </a:r>
          </a:p>
          <a:p>
            <a:pPr marL="0" indent="0">
              <a:spcBef>
                <a:spcPts val="0"/>
              </a:spcBef>
              <a:spcAft>
                <a:spcPts val="0"/>
              </a:spcAft>
              <a:buNone/>
              <a:defRPr/>
            </a:pPr>
            <a:r>
              <a:rPr lang="da-DK" sz="800" dirty="0">
                <a:cs typeface="Calibri" panose="020F0502020204030204" pitchFamily="34" charset="0"/>
              </a:rPr>
              <a:t>validering for forbrugs- og produktionsdata</a:t>
            </a:r>
          </a:p>
        </p:txBody>
      </p:sp>
      <p:sp>
        <p:nvSpPr>
          <p:cNvPr id="292" name="Pladsholder til tekst 3">
            <a:extLst>
              <a:ext uri="{FF2B5EF4-FFF2-40B4-BE49-F238E27FC236}">
                <a16:creationId xmlns:a16="http://schemas.microsoft.com/office/drawing/2014/main" id="{308F9CC1-8E0B-49B8-AC64-07E136E4834A}"/>
              </a:ext>
            </a:extLst>
          </p:cNvPr>
          <p:cNvSpPr>
            <a:spLocks noGrp="1"/>
          </p:cNvSpPr>
          <p:nvPr>
            <p:custDataLst>
              <p:tags r:id="rId67"/>
            </p:custDataLst>
          </p:nvPr>
        </p:nvSpPr>
        <p:spPr bwMode="auto">
          <a:xfrm>
            <a:off x="395288" y="4022725"/>
            <a:ext cx="225583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7: </a:t>
            </a:r>
            <a:r>
              <a:rPr lang="da-DK" sz="800" dirty="0">
                <a:cs typeface="Calibri" panose="020F0502020204030204" pitchFamily="34" charset="0"/>
              </a:rPr>
              <a:t>Analyse af løsninger vedr. samtykke til </a:t>
            </a:r>
          </a:p>
          <a:p>
            <a:pPr marL="0" indent="0">
              <a:spcBef>
                <a:spcPct val="0"/>
              </a:spcBef>
              <a:spcAft>
                <a:spcPct val="0"/>
              </a:spcAft>
              <a:buNone/>
            </a:pPr>
            <a:r>
              <a:rPr lang="da-DK" sz="800" dirty="0">
                <a:cs typeface="Calibri" panose="020F0502020204030204" pitchFamily="34" charset="0"/>
              </a:rPr>
              <a:t>3. part</a:t>
            </a:r>
            <a:endParaRPr lang="da-DK" sz="800" dirty="0"/>
          </a:p>
        </p:txBody>
      </p:sp>
      <p:sp>
        <p:nvSpPr>
          <p:cNvPr id="295" name="Pladsholder til tekst 3">
            <a:extLst>
              <a:ext uri="{FF2B5EF4-FFF2-40B4-BE49-F238E27FC236}">
                <a16:creationId xmlns:a16="http://schemas.microsoft.com/office/drawing/2014/main" id="{28148C99-E414-466C-BA55-889CF674C6AD}"/>
              </a:ext>
            </a:extLst>
          </p:cNvPr>
          <p:cNvSpPr>
            <a:spLocks noGrp="1"/>
          </p:cNvSpPr>
          <p:nvPr>
            <p:custDataLst>
              <p:tags r:id="rId68"/>
            </p:custDataLst>
          </p:nvPr>
        </p:nvSpPr>
        <p:spPr bwMode="auto">
          <a:xfrm>
            <a:off x="395288" y="623888"/>
            <a:ext cx="6191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63376A-1932-46D3-B649-9CE7A8C3B34D}" type="datetime'''A''''''''kti''''''''''v''''i''''''t''''''e''''t'''''''''''">
              <a:rPr lang="da-DK" altLang="en-US" b="1" smtClean="0"/>
              <a:pPr/>
              <a:t>Aktivitet</a:t>
            </a:fld>
            <a:endParaRPr lang="da-DK" b="1" dirty="0"/>
          </a:p>
        </p:txBody>
      </p:sp>
      <p:sp>
        <p:nvSpPr>
          <p:cNvPr id="296" name="Rektangel 295">
            <a:extLst>
              <a:ext uri="{FF2B5EF4-FFF2-40B4-BE49-F238E27FC236}">
                <a16:creationId xmlns:a16="http://schemas.microsoft.com/office/drawing/2014/main" id="{DE67C8B1-9E9D-4919-86C5-792A8EE46AAB}"/>
              </a:ext>
            </a:extLst>
          </p:cNvPr>
          <p:cNvSpPr/>
          <p:nvPr/>
        </p:nvSpPr>
        <p:spPr>
          <a:xfrm>
            <a:off x="1239987" y="4638773"/>
            <a:ext cx="888851" cy="72008"/>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7" name="Afrundet rektangel 27">
            <a:extLst>
              <a:ext uri="{FF2B5EF4-FFF2-40B4-BE49-F238E27FC236}">
                <a16:creationId xmlns:a16="http://schemas.microsoft.com/office/drawing/2014/main" id="{0D5EB43B-81BB-4524-9F1D-C345107DB18B}"/>
              </a:ext>
            </a:extLst>
          </p:cNvPr>
          <p:cNvSpPr/>
          <p:nvPr/>
        </p:nvSpPr>
        <p:spPr>
          <a:xfrm>
            <a:off x="1249763" y="4848451"/>
            <a:ext cx="879075" cy="72572"/>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Tekstfelt 297">
            <a:extLst>
              <a:ext uri="{FF2B5EF4-FFF2-40B4-BE49-F238E27FC236}">
                <a16:creationId xmlns:a16="http://schemas.microsoft.com/office/drawing/2014/main" id="{4C039D34-D4DF-445E-977F-1F4372093347}"/>
              </a:ext>
            </a:extLst>
          </p:cNvPr>
          <p:cNvSpPr txBox="1"/>
          <p:nvPr/>
        </p:nvSpPr>
        <p:spPr>
          <a:xfrm>
            <a:off x="2174812" y="4787731"/>
            <a:ext cx="1619250" cy="207749"/>
          </a:xfrm>
          <a:prstGeom prst="rect">
            <a:avLst/>
          </a:prstGeom>
          <a:noFill/>
        </p:spPr>
        <p:txBody>
          <a:bodyPr wrap="square" rtlCol="0">
            <a:spAutoFit/>
          </a:bodyPr>
          <a:lstStyle/>
          <a:p>
            <a:r>
              <a:rPr lang="da-DK" sz="750" dirty="0"/>
              <a:t>Tidspunkt for afslutning uafklaret</a:t>
            </a:r>
          </a:p>
        </p:txBody>
      </p:sp>
      <p:sp>
        <p:nvSpPr>
          <p:cNvPr id="299" name="Tekstfelt 298">
            <a:extLst>
              <a:ext uri="{FF2B5EF4-FFF2-40B4-BE49-F238E27FC236}">
                <a16:creationId xmlns:a16="http://schemas.microsoft.com/office/drawing/2014/main" id="{C4E4285E-4F7C-4B2C-BD23-A239CC590B35}"/>
              </a:ext>
            </a:extLst>
          </p:cNvPr>
          <p:cNvSpPr txBox="1"/>
          <p:nvPr/>
        </p:nvSpPr>
        <p:spPr>
          <a:xfrm>
            <a:off x="6618062" y="4578120"/>
            <a:ext cx="1164882" cy="207749"/>
          </a:xfrm>
          <a:prstGeom prst="rect">
            <a:avLst/>
          </a:prstGeom>
          <a:noFill/>
        </p:spPr>
        <p:txBody>
          <a:bodyPr wrap="square" rtlCol="0">
            <a:spAutoFit/>
          </a:bodyPr>
          <a:lstStyle/>
          <a:p>
            <a:r>
              <a:rPr lang="da-DK" sz="750" dirty="0"/>
              <a:t>Leverance afsluttes</a:t>
            </a:r>
          </a:p>
        </p:txBody>
      </p:sp>
      <p:sp>
        <p:nvSpPr>
          <p:cNvPr id="300" name="Rombe 299">
            <a:extLst>
              <a:ext uri="{FF2B5EF4-FFF2-40B4-BE49-F238E27FC236}">
                <a16:creationId xmlns:a16="http://schemas.microsoft.com/office/drawing/2014/main" id="{42AE7C43-A6AD-4ACE-8E69-8AB47A309467}"/>
              </a:ext>
            </a:extLst>
          </p:cNvPr>
          <p:cNvSpPr/>
          <p:nvPr/>
        </p:nvSpPr>
        <p:spPr>
          <a:xfrm>
            <a:off x="6462958" y="4625284"/>
            <a:ext cx="125509" cy="121133"/>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1" name="Tekstfelt 300">
            <a:extLst>
              <a:ext uri="{FF2B5EF4-FFF2-40B4-BE49-F238E27FC236}">
                <a16:creationId xmlns:a16="http://schemas.microsoft.com/office/drawing/2014/main" id="{713E4D6B-373E-43AB-AAAF-34CA302B6228}"/>
              </a:ext>
            </a:extLst>
          </p:cNvPr>
          <p:cNvSpPr txBox="1"/>
          <p:nvPr/>
        </p:nvSpPr>
        <p:spPr>
          <a:xfrm>
            <a:off x="2182982" y="4574815"/>
            <a:ext cx="1164882" cy="207749"/>
          </a:xfrm>
          <a:prstGeom prst="rect">
            <a:avLst/>
          </a:prstGeom>
          <a:noFill/>
        </p:spPr>
        <p:txBody>
          <a:bodyPr wrap="square" rtlCol="0">
            <a:spAutoFit/>
          </a:bodyPr>
          <a:lstStyle/>
          <a:p>
            <a:r>
              <a:rPr lang="da-DK" sz="750" dirty="0"/>
              <a:t>Leverance udarbejdes</a:t>
            </a:r>
          </a:p>
        </p:txBody>
      </p:sp>
      <p:sp>
        <p:nvSpPr>
          <p:cNvPr id="302" name="Tekstfelt 301">
            <a:extLst>
              <a:ext uri="{FF2B5EF4-FFF2-40B4-BE49-F238E27FC236}">
                <a16:creationId xmlns:a16="http://schemas.microsoft.com/office/drawing/2014/main" id="{83E046F2-C265-40AA-B92F-011B65FE779E}"/>
              </a:ext>
            </a:extLst>
          </p:cNvPr>
          <p:cNvSpPr txBox="1"/>
          <p:nvPr/>
        </p:nvSpPr>
        <p:spPr>
          <a:xfrm>
            <a:off x="7962448" y="4569037"/>
            <a:ext cx="1619250" cy="207749"/>
          </a:xfrm>
          <a:prstGeom prst="rect">
            <a:avLst/>
          </a:prstGeom>
          <a:noFill/>
        </p:spPr>
        <p:txBody>
          <a:bodyPr wrap="square" rtlCol="0">
            <a:spAutoFit/>
          </a:bodyPr>
          <a:lstStyle/>
          <a:p>
            <a:r>
              <a:rPr lang="da-DK" sz="750" dirty="0"/>
              <a:t>Leverance afsluttet</a:t>
            </a:r>
          </a:p>
        </p:txBody>
      </p:sp>
      <p:sp>
        <p:nvSpPr>
          <p:cNvPr id="304" name="Rombe 303">
            <a:extLst>
              <a:ext uri="{FF2B5EF4-FFF2-40B4-BE49-F238E27FC236}">
                <a16:creationId xmlns:a16="http://schemas.microsoft.com/office/drawing/2014/main" id="{2398DE9B-5984-46FD-A3BB-376CB7491791}"/>
              </a:ext>
            </a:extLst>
          </p:cNvPr>
          <p:cNvSpPr/>
          <p:nvPr/>
        </p:nvSpPr>
        <p:spPr>
          <a:xfrm>
            <a:off x="7830867" y="4622317"/>
            <a:ext cx="125509" cy="121133"/>
          </a:xfrm>
          <a:prstGeom prst="diamond">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5" name="Rektangel 304">
            <a:extLst>
              <a:ext uri="{FF2B5EF4-FFF2-40B4-BE49-F238E27FC236}">
                <a16:creationId xmlns:a16="http://schemas.microsoft.com/office/drawing/2014/main" id="{778A0B13-39FA-4781-B25D-A351D3F66C51}"/>
              </a:ext>
            </a:extLst>
          </p:cNvPr>
          <p:cNvSpPr/>
          <p:nvPr/>
        </p:nvSpPr>
        <p:spPr>
          <a:xfrm>
            <a:off x="3943265" y="4637640"/>
            <a:ext cx="888851" cy="72008"/>
          </a:xfrm>
          <a:prstGeom prst="rect">
            <a:avLst/>
          </a:prstGeom>
          <a:solidFill>
            <a:srgbClr val="94CDD3"/>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6" name="Tekstfelt 305">
            <a:extLst>
              <a:ext uri="{FF2B5EF4-FFF2-40B4-BE49-F238E27FC236}">
                <a16:creationId xmlns:a16="http://schemas.microsoft.com/office/drawing/2014/main" id="{FB5131F2-2E19-49AA-80C5-55521F571C4E}"/>
              </a:ext>
            </a:extLst>
          </p:cNvPr>
          <p:cNvSpPr txBox="1"/>
          <p:nvPr/>
        </p:nvSpPr>
        <p:spPr>
          <a:xfrm>
            <a:off x="4872037" y="4569769"/>
            <a:ext cx="1619250" cy="207749"/>
          </a:xfrm>
          <a:prstGeom prst="rect">
            <a:avLst/>
          </a:prstGeom>
          <a:noFill/>
        </p:spPr>
        <p:txBody>
          <a:bodyPr wrap="square" rtlCol="0">
            <a:spAutoFit/>
          </a:bodyPr>
          <a:lstStyle/>
          <a:p>
            <a:r>
              <a:rPr lang="da-DK" sz="750" dirty="0"/>
              <a:t>Leverance igangsættes</a:t>
            </a:r>
          </a:p>
        </p:txBody>
      </p:sp>
      <p:sp>
        <p:nvSpPr>
          <p:cNvPr id="307" name="Afrundet rektangel 27">
            <a:extLst>
              <a:ext uri="{FF2B5EF4-FFF2-40B4-BE49-F238E27FC236}">
                <a16:creationId xmlns:a16="http://schemas.microsoft.com/office/drawing/2014/main" id="{2BD1DDCC-A687-4AD5-A6D9-129225A6BC9F}"/>
              </a:ext>
            </a:extLst>
          </p:cNvPr>
          <p:cNvSpPr/>
          <p:nvPr/>
        </p:nvSpPr>
        <p:spPr>
          <a:xfrm>
            <a:off x="3941492" y="4848451"/>
            <a:ext cx="879075" cy="72572"/>
          </a:xfrm>
          <a:prstGeom prst="roundRect">
            <a:avLst/>
          </a:prstGeom>
          <a:solidFill>
            <a:schemeClr val="bg1"/>
          </a:solidFill>
          <a:ln>
            <a:solidFill>
              <a:schemeClr val="accent3">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8" name="Tekstfelt 307">
            <a:extLst>
              <a:ext uri="{FF2B5EF4-FFF2-40B4-BE49-F238E27FC236}">
                <a16:creationId xmlns:a16="http://schemas.microsoft.com/office/drawing/2014/main" id="{3A5A0DA8-44C8-4F0C-8F32-7452E0EEE1AE}"/>
              </a:ext>
            </a:extLst>
          </p:cNvPr>
          <p:cNvSpPr txBox="1"/>
          <p:nvPr/>
        </p:nvSpPr>
        <p:spPr>
          <a:xfrm>
            <a:off x="4872037" y="4787731"/>
            <a:ext cx="1808448" cy="207750"/>
          </a:xfrm>
          <a:prstGeom prst="rect">
            <a:avLst/>
          </a:prstGeom>
          <a:noFill/>
        </p:spPr>
        <p:txBody>
          <a:bodyPr wrap="square" rtlCol="0">
            <a:spAutoFit/>
          </a:bodyPr>
          <a:lstStyle/>
          <a:p>
            <a:r>
              <a:rPr lang="da-DK" sz="750" dirty="0"/>
              <a:t>Leverance udgået af arbejdsprogram</a:t>
            </a:r>
          </a:p>
        </p:txBody>
      </p:sp>
    </p:spTree>
    <p:extLst>
      <p:ext uri="{BB962C8B-B14F-4D97-AF65-F5344CB8AC3E}">
        <p14:creationId xmlns:p14="http://schemas.microsoft.com/office/powerpoint/2010/main" val="358662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70" imgW="347" imgH="348" progId="TCLayout.ActiveDocument.1">
                  <p:embed/>
                </p:oleObj>
              </mc:Choice>
              <mc:Fallback>
                <p:oleObj name="think-cell Slide" r:id="rId70" imgW="347" imgH="348" progId="TCLayout.ActiveDocument.1">
                  <p:embed/>
                  <p:pic>
                    <p:nvPicPr>
                      <p:cNvPr id="63" name="think-cell data - do not delete" hidden="1"/>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 name="Pladsholder til dato 1"/>
          <p:cNvSpPr>
            <a:spLocks noGrp="1"/>
          </p:cNvSpPr>
          <p:nvPr>
            <p:ph type="dt" sz="half" idx="17"/>
          </p:nvPr>
        </p:nvSpPr>
        <p:spPr/>
        <p:txBody>
          <a:bodyPr/>
          <a:lstStyle/>
          <a:p>
            <a:fld id="{D6C43E05-5416-43CC-9354-A0F970D8A001}" type="datetime2">
              <a:rPr lang="da-DK" smtClean="0"/>
              <a:pPr/>
              <a:t>17.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11</a:t>
            </a:fld>
            <a:endParaRPr lang="da-DK" dirty="0"/>
          </a:p>
        </p:txBody>
      </p:sp>
      <p:pic>
        <p:nvPicPr>
          <p:cNvPr id="261" name="Billede 260" descr="https://sdfe.sdfewebh-spf01p.prod.sitad.dk/Nyhedsarkiv/PublishingImages/Faglig/Klimadatastyrelsen.jpg">
            <a:extLst>
              <a:ext uri="{FF2B5EF4-FFF2-40B4-BE49-F238E27FC236}">
                <a16:creationId xmlns:a16="http://schemas.microsoft.com/office/drawing/2014/main" id="{74518F34-9E4D-45FE-838F-B6264516DEF4}"/>
              </a:ext>
            </a:extLst>
          </p:cNvPr>
          <p:cNvPicPr/>
          <p:nvPr/>
        </p:nvPicPr>
        <p:blipFill>
          <a:blip r:embed="rId72" cstate="hqprint">
            <a:extLst>
              <a:ext uri="{28A0092B-C50C-407E-A947-70E740481C1C}">
                <a14:useLocalDpi xmlns:a14="http://schemas.microsoft.com/office/drawing/2010/main" val="0"/>
              </a:ext>
            </a:extLst>
          </a:blip>
          <a:srcRect/>
          <a:stretch>
            <a:fillRect/>
          </a:stretch>
        </p:blipFill>
        <p:spPr bwMode="auto">
          <a:xfrm>
            <a:off x="109281" y="4710782"/>
            <a:ext cx="1164882" cy="332976"/>
          </a:xfrm>
          <a:prstGeom prst="rect">
            <a:avLst/>
          </a:prstGeom>
          <a:noFill/>
          <a:ln>
            <a:noFill/>
          </a:ln>
        </p:spPr>
      </p:pic>
      <p:sp>
        <p:nvSpPr>
          <p:cNvPr id="193" name="Rektangel 192">
            <a:extLst>
              <a:ext uri="{FF2B5EF4-FFF2-40B4-BE49-F238E27FC236}">
                <a16:creationId xmlns:a16="http://schemas.microsoft.com/office/drawing/2014/main" id="{8286C82E-6467-474A-8828-13EC2217E7BA}"/>
              </a:ext>
            </a:extLst>
          </p:cNvPr>
          <p:cNvSpPr/>
          <p:nvPr>
            <p:custDataLst>
              <p:tags r:id="rId3"/>
            </p:custDataLst>
          </p:nvPr>
        </p:nvSpPr>
        <p:spPr bwMode="auto">
          <a:xfrm>
            <a:off x="323850" y="860425"/>
            <a:ext cx="8496300" cy="347663"/>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5" name="Rektangel 194">
            <a:extLst>
              <a:ext uri="{FF2B5EF4-FFF2-40B4-BE49-F238E27FC236}">
                <a16:creationId xmlns:a16="http://schemas.microsoft.com/office/drawing/2014/main" id="{87D9DA46-12FF-4689-9315-7E7B87DDD126}"/>
              </a:ext>
            </a:extLst>
          </p:cNvPr>
          <p:cNvSpPr/>
          <p:nvPr>
            <p:custDataLst>
              <p:tags r:id="rId4"/>
            </p:custDataLst>
          </p:nvPr>
        </p:nvSpPr>
        <p:spPr bwMode="auto">
          <a:xfrm>
            <a:off x="323850" y="1208088"/>
            <a:ext cx="8496300" cy="468313"/>
          </a:xfrm>
          <a:prstGeom prst="rect">
            <a:avLst/>
          </a:prstGeom>
          <a:solidFill>
            <a:srgbClr val="FFFFF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6" name="Pladsholder til tekst 3">
            <a:extLst>
              <a:ext uri="{FF2B5EF4-FFF2-40B4-BE49-F238E27FC236}">
                <a16:creationId xmlns:a16="http://schemas.microsoft.com/office/drawing/2014/main" id="{D49B50A4-4E09-4B74-8D7F-03D8B155147F}"/>
              </a:ext>
            </a:extLst>
          </p:cNvPr>
          <p:cNvSpPr>
            <a:spLocks noGrp="1"/>
          </p:cNvSpPr>
          <p:nvPr>
            <p:custDataLst>
              <p:tags r:id="rId5"/>
            </p:custDataLst>
          </p:nvPr>
        </p:nvSpPr>
        <p:spPr bwMode="auto">
          <a:xfrm>
            <a:off x="3392487" y="339725"/>
            <a:ext cx="1092200"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05A56BF-0820-477B-8D89-E4BCB4718093}" type="datetime'''''2''''''''''''0''''''''''2''5'''''''''''''''''''">
              <a:rPr lang="da-DK" altLang="en-US" b="1" smtClean="0"/>
              <a:pPr/>
              <a:t>2025</a:t>
            </a:fld>
            <a:endParaRPr lang="da-DK" b="1" dirty="0"/>
          </a:p>
        </p:txBody>
      </p:sp>
      <p:sp>
        <p:nvSpPr>
          <p:cNvPr id="209" name="Pladsholder til tekst 3">
            <a:extLst>
              <a:ext uri="{FF2B5EF4-FFF2-40B4-BE49-F238E27FC236}">
                <a16:creationId xmlns:a16="http://schemas.microsoft.com/office/drawing/2014/main" id="{40A03654-4B8F-4E99-8737-707EF563D99D}"/>
              </a:ext>
            </a:extLst>
          </p:cNvPr>
          <p:cNvSpPr>
            <a:spLocks noGrp="1"/>
          </p:cNvSpPr>
          <p:nvPr>
            <p:custDataLst>
              <p:tags r:id="rId6"/>
            </p:custDataLst>
          </p:nvPr>
        </p:nvSpPr>
        <p:spPr bwMode="auto">
          <a:xfrm>
            <a:off x="4484688" y="339725"/>
            <a:ext cx="4335463"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3F7EFC-82FB-4F0C-9931-A576902FB9A2}" type="datetime'''''2''''''''''''''0''''''''''2''6'''''''''''''''''''''''''''">
              <a:rPr lang="da-DK" altLang="en-US" b="1" smtClean="0"/>
              <a:pPr/>
              <a:t>2026</a:t>
            </a:fld>
            <a:endParaRPr lang="da-DK" b="1" dirty="0"/>
          </a:p>
        </p:txBody>
      </p:sp>
      <p:sp>
        <p:nvSpPr>
          <p:cNvPr id="211" name="Pladsholder til tekst 3">
            <a:extLst>
              <a:ext uri="{FF2B5EF4-FFF2-40B4-BE49-F238E27FC236}">
                <a16:creationId xmlns:a16="http://schemas.microsoft.com/office/drawing/2014/main" id="{03BE0F6C-CCDF-4A46-AB49-167689D19FC6}"/>
              </a:ext>
            </a:extLst>
          </p:cNvPr>
          <p:cNvSpPr>
            <a:spLocks noGrp="1"/>
          </p:cNvSpPr>
          <p:nvPr>
            <p:custDataLst>
              <p:tags r:id="rId7"/>
            </p:custDataLst>
          </p:nvPr>
        </p:nvSpPr>
        <p:spPr bwMode="auto">
          <a:xfrm>
            <a:off x="3392487" y="600075"/>
            <a:ext cx="3683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2721E2-AD33-4766-8BCF-0F90FFEFA8C2}" type="datetime'''''''''''''''''''o''''''''k''''''t'''''''''''''''''''">
              <a:rPr lang="da-DK" altLang="en-US" b="1" smtClean="0"/>
              <a:pPr/>
              <a:t>okt</a:t>
            </a:fld>
            <a:endParaRPr lang="da-DK" b="1" dirty="0"/>
          </a:p>
        </p:txBody>
      </p:sp>
      <p:sp>
        <p:nvSpPr>
          <p:cNvPr id="212" name="Pladsholder til tekst 3">
            <a:extLst>
              <a:ext uri="{FF2B5EF4-FFF2-40B4-BE49-F238E27FC236}">
                <a16:creationId xmlns:a16="http://schemas.microsoft.com/office/drawing/2014/main" id="{DAC11BA7-5D13-427F-A49F-CACFB8B79FAF}"/>
              </a:ext>
            </a:extLst>
          </p:cNvPr>
          <p:cNvSpPr>
            <a:spLocks noGrp="1"/>
          </p:cNvSpPr>
          <p:nvPr>
            <p:custDataLst>
              <p:tags r:id="rId8"/>
            </p:custDataLst>
          </p:nvPr>
        </p:nvSpPr>
        <p:spPr bwMode="auto">
          <a:xfrm>
            <a:off x="3760788" y="600075"/>
            <a:ext cx="3556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26CB288-C6A0-4A06-A22B-57736725FE21}" type="datetime'''''n''''''''''''''''''''''''''ov'''''''''''''''''''''">
              <a:rPr lang="da-DK" altLang="en-US" b="1" smtClean="0"/>
              <a:pPr/>
              <a:t>nov</a:t>
            </a:fld>
            <a:endParaRPr lang="da-DK" b="1" dirty="0"/>
          </a:p>
        </p:txBody>
      </p:sp>
      <p:sp>
        <p:nvSpPr>
          <p:cNvPr id="213" name="Pladsholder til tekst 3">
            <a:extLst>
              <a:ext uri="{FF2B5EF4-FFF2-40B4-BE49-F238E27FC236}">
                <a16:creationId xmlns:a16="http://schemas.microsoft.com/office/drawing/2014/main" id="{95D97E8E-0F2C-47AF-9439-99BB3EBF1718}"/>
              </a:ext>
            </a:extLst>
          </p:cNvPr>
          <p:cNvSpPr>
            <a:spLocks noGrp="1"/>
          </p:cNvSpPr>
          <p:nvPr>
            <p:custDataLst>
              <p:tags r:id="rId9"/>
            </p:custDataLst>
          </p:nvPr>
        </p:nvSpPr>
        <p:spPr bwMode="auto">
          <a:xfrm>
            <a:off x="4116387" y="600075"/>
            <a:ext cx="3683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63AEED-B177-4E28-9B95-F95462EBB926}" type="datetime'''''''''''''''''''''''''''d''''''''''''e''''''''c'''">
              <a:rPr lang="da-DK" altLang="en-US" b="1" smtClean="0"/>
              <a:pPr/>
              <a:t>dec</a:t>
            </a:fld>
            <a:endParaRPr lang="da-DK" b="1" dirty="0"/>
          </a:p>
        </p:txBody>
      </p:sp>
      <p:sp>
        <p:nvSpPr>
          <p:cNvPr id="217" name="Pladsholder til tekst 3">
            <a:extLst>
              <a:ext uri="{FF2B5EF4-FFF2-40B4-BE49-F238E27FC236}">
                <a16:creationId xmlns:a16="http://schemas.microsoft.com/office/drawing/2014/main" id="{0D1C0B38-1FF0-4FBA-9A72-08BB9F93EB9D}"/>
              </a:ext>
            </a:extLst>
          </p:cNvPr>
          <p:cNvSpPr>
            <a:spLocks noGrp="1"/>
          </p:cNvSpPr>
          <p:nvPr>
            <p:custDataLst>
              <p:tags r:id="rId10"/>
            </p:custDataLst>
          </p:nvPr>
        </p:nvSpPr>
        <p:spPr bwMode="auto">
          <a:xfrm>
            <a:off x="4484687" y="600075"/>
            <a:ext cx="3683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2B1177-4EBA-4D4F-8B8E-1B57C6685770}" type="datetime'''''''''''j''''''''''''''''''''''''''''a''''n'''''''''">
              <a:rPr lang="da-DK" altLang="en-US" b="1" smtClean="0"/>
              <a:pPr/>
              <a:t>jan</a:t>
            </a:fld>
            <a:endParaRPr lang="da-DK" b="1" dirty="0"/>
          </a:p>
        </p:txBody>
      </p:sp>
      <p:sp>
        <p:nvSpPr>
          <p:cNvPr id="218" name="Pladsholder til tekst 3">
            <a:extLst>
              <a:ext uri="{FF2B5EF4-FFF2-40B4-BE49-F238E27FC236}">
                <a16:creationId xmlns:a16="http://schemas.microsoft.com/office/drawing/2014/main" id="{5D319629-A9FB-4634-BDAB-35E90302B178}"/>
              </a:ext>
            </a:extLst>
          </p:cNvPr>
          <p:cNvSpPr>
            <a:spLocks noGrp="1"/>
          </p:cNvSpPr>
          <p:nvPr>
            <p:custDataLst>
              <p:tags r:id="rId11"/>
            </p:custDataLst>
          </p:nvPr>
        </p:nvSpPr>
        <p:spPr bwMode="auto">
          <a:xfrm>
            <a:off x="4852988" y="600075"/>
            <a:ext cx="33337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C9BBC9-E093-4356-AC5D-B3FEAF074C33}" type="datetime'''''''f''''''''''''''''''''''''eb'''''''''''''''''">
              <a:rPr lang="da-DK" altLang="en-US" b="1" smtClean="0"/>
              <a:pPr/>
              <a:t>feb</a:t>
            </a:fld>
            <a:endParaRPr lang="da-DK" b="1" dirty="0"/>
          </a:p>
        </p:txBody>
      </p:sp>
      <p:sp>
        <p:nvSpPr>
          <p:cNvPr id="219" name="Pladsholder til tekst 3">
            <a:extLst>
              <a:ext uri="{FF2B5EF4-FFF2-40B4-BE49-F238E27FC236}">
                <a16:creationId xmlns:a16="http://schemas.microsoft.com/office/drawing/2014/main" id="{F4FDE7BE-72F1-4F61-94AF-B5B7DEA8BC7E}"/>
              </a:ext>
            </a:extLst>
          </p:cNvPr>
          <p:cNvSpPr>
            <a:spLocks noGrp="1"/>
          </p:cNvSpPr>
          <p:nvPr>
            <p:custDataLst>
              <p:tags r:id="rId12"/>
            </p:custDataLst>
          </p:nvPr>
        </p:nvSpPr>
        <p:spPr bwMode="auto">
          <a:xfrm>
            <a:off x="5186362" y="600075"/>
            <a:ext cx="3683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878AC9-7D27-48D9-AA92-38C3B92DCE81}" type="datetime'''''''''''''''''''''m''''''''''a''''''''''''''''r'''''">
              <a:rPr lang="da-DK" altLang="en-US" b="1" smtClean="0"/>
              <a:pPr/>
              <a:t>mar</a:t>
            </a:fld>
            <a:endParaRPr lang="da-DK" b="1" dirty="0"/>
          </a:p>
        </p:txBody>
      </p:sp>
      <p:sp>
        <p:nvSpPr>
          <p:cNvPr id="220" name="Pladsholder til tekst 3">
            <a:extLst>
              <a:ext uri="{FF2B5EF4-FFF2-40B4-BE49-F238E27FC236}">
                <a16:creationId xmlns:a16="http://schemas.microsoft.com/office/drawing/2014/main" id="{0A5F1A39-0971-4AD6-981A-D000B88AECC5}"/>
              </a:ext>
            </a:extLst>
          </p:cNvPr>
          <p:cNvSpPr>
            <a:spLocks noGrp="1"/>
          </p:cNvSpPr>
          <p:nvPr>
            <p:custDataLst>
              <p:tags r:id="rId13"/>
            </p:custDataLst>
          </p:nvPr>
        </p:nvSpPr>
        <p:spPr bwMode="auto">
          <a:xfrm>
            <a:off x="5554663" y="600075"/>
            <a:ext cx="3556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DCED76-ED90-402F-91BD-B1A79FF21151}" type="datetime'''''''''''''''''a''''''p''''''''''''''''''''''r'''''''''">
              <a:rPr lang="da-DK" altLang="en-US" b="1" smtClean="0"/>
              <a:pPr/>
              <a:t>apr</a:t>
            </a:fld>
            <a:endParaRPr lang="da-DK" b="1" dirty="0"/>
          </a:p>
        </p:txBody>
      </p:sp>
      <p:sp>
        <p:nvSpPr>
          <p:cNvPr id="222" name="Pladsholder til tekst 3">
            <a:extLst>
              <a:ext uri="{FF2B5EF4-FFF2-40B4-BE49-F238E27FC236}">
                <a16:creationId xmlns:a16="http://schemas.microsoft.com/office/drawing/2014/main" id="{46A23A75-5804-4434-AE62-EE78A0CA4A1C}"/>
              </a:ext>
            </a:extLst>
          </p:cNvPr>
          <p:cNvSpPr>
            <a:spLocks noGrp="1"/>
          </p:cNvSpPr>
          <p:nvPr>
            <p:custDataLst>
              <p:tags r:id="rId14"/>
            </p:custDataLst>
          </p:nvPr>
        </p:nvSpPr>
        <p:spPr bwMode="auto">
          <a:xfrm>
            <a:off x="5910262" y="600075"/>
            <a:ext cx="3683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0D7B32-9862-44E3-83A1-8F28A0E12F7E}" type="datetime'''''''''m''''''''''''''''''''''''''aj'''">
              <a:rPr lang="da-DK" altLang="en-US" b="1" smtClean="0"/>
              <a:pPr/>
              <a:t>maj</a:t>
            </a:fld>
            <a:endParaRPr lang="da-DK" b="1" dirty="0"/>
          </a:p>
        </p:txBody>
      </p:sp>
      <p:sp>
        <p:nvSpPr>
          <p:cNvPr id="223" name="Pladsholder til tekst 3">
            <a:extLst>
              <a:ext uri="{FF2B5EF4-FFF2-40B4-BE49-F238E27FC236}">
                <a16:creationId xmlns:a16="http://schemas.microsoft.com/office/drawing/2014/main" id="{F6888EF9-C5D3-4BC9-9F25-910B8298FF51}"/>
              </a:ext>
            </a:extLst>
          </p:cNvPr>
          <p:cNvSpPr>
            <a:spLocks noGrp="1"/>
          </p:cNvSpPr>
          <p:nvPr>
            <p:custDataLst>
              <p:tags r:id="rId15"/>
            </p:custDataLst>
          </p:nvPr>
        </p:nvSpPr>
        <p:spPr bwMode="auto">
          <a:xfrm>
            <a:off x="6278563" y="600075"/>
            <a:ext cx="3556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A99CE1-E0B9-4549-A5CD-AD1CBD2B3B24}" type="datetime'''''''''j''''''''u''''''''''''''''''''n'''''''''''''''''''">
              <a:rPr lang="da-DK" altLang="en-US" b="1" smtClean="0"/>
              <a:pPr/>
              <a:t>jun</a:t>
            </a:fld>
            <a:endParaRPr lang="da-DK" b="1" dirty="0"/>
          </a:p>
        </p:txBody>
      </p:sp>
      <p:sp>
        <p:nvSpPr>
          <p:cNvPr id="225" name="Pladsholder til tekst 3">
            <a:extLst>
              <a:ext uri="{FF2B5EF4-FFF2-40B4-BE49-F238E27FC236}">
                <a16:creationId xmlns:a16="http://schemas.microsoft.com/office/drawing/2014/main" id="{357AF97B-EF16-4165-A96C-9434316A3D2B}"/>
              </a:ext>
            </a:extLst>
          </p:cNvPr>
          <p:cNvSpPr>
            <a:spLocks noGrp="1"/>
          </p:cNvSpPr>
          <p:nvPr>
            <p:custDataLst>
              <p:tags r:id="rId16"/>
            </p:custDataLst>
          </p:nvPr>
        </p:nvSpPr>
        <p:spPr bwMode="auto">
          <a:xfrm>
            <a:off x="6634162" y="600075"/>
            <a:ext cx="3683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931459-7110-441D-94A5-575CE3B4AF0B}" type="datetime'''''j''''''''''''u''''''''''''''''''''''''''''''''''''''''l'''">
              <a:rPr lang="da-DK" altLang="en-US" b="1" smtClean="0"/>
              <a:pPr/>
              <a:t>jul</a:t>
            </a:fld>
            <a:endParaRPr lang="da-DK" b="1" dirty="0"/>
          </a:p>
        </p:txBody>
      </p:sp>
      <p:sp>
        <p:nvSpPr>
          <p:cNvPr id="226" name="Pladsholder til tekst 3">
            <a:extLst>
              <a:ext uri="{FF2B5EF4-FFF2-40B4-BE49-F238E27FC236}">
                <a16:creationId xmlns:a16="http://schemas.microsoft.com/office/drawing/2014/main" id="{E7F46300-56E3-49D9-B554-FD949D491AE0}"/>
              </a:ext>
            </a:extLst>
          </p:cNvPr>
          <p:cNvSpPr>
            <a:spLocks noGrp="1"/>
          </p:cNvSpPr>
          <p:nvPr>
            <p:custDataLst>
              <p:tags r:id="rId17"/>
            </p:custDataLst>
          </p:nvPr>
        </p:nvSpPr>
        <p:spPr bwMode="auto">
          <a:xfrm>
            <a:off x="7002462" y="600075"/>
            <a:ext cx="3683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8AA27BB-6FE2-4C7C-BA9D-0D6EC1B6DAD2}" type="datetime'a''''''''''''''''''u''''''''''''''''''g'''">
              <a:rPr lang="da-DK" altLang="en-US" b="1" smtClean="0"/>
              <a:pPr/>
              <a:t>aug</a:t>
            </a:fld>
            <a:endParaRPr lang="da-DK" b="1" dirty="0"/>
          </a:p>
        </p:txBody>
      </p:sp>
      <p:sp>
        <p:nvSpPr>
          <p:cNvPr id="227" name="Pladsholder til tekst 3">
            <a:extLst>
              <a:ext uri="{FF2B5EF4-FFF2-40B4-BE49-F238E27FC236}">
                <a16:creationId xmlns:a16="http://schemas.microsoft.com/office/drawing/2014/main" id="{07A08E6E-78F2-4C21-B821-849074004C4E}"/>
              </a:ext>
            </a:extLst>
          </p:cNvPr>
          <p:cNvSpPr>
            <a:spLocks noGrp="1"/>
          </p:cNvSpPr>
          <p:nvPr>
            <p:custDataLst>
              <p:tags r:id="rId18"/>
            </p:custDataLst>
          </p:nvPr>
        </p:nvSpPr>
        <p:spPr bwMode="auto">
          <a:xfrm>
            <a:off x="7370763" y="600075"/>
            <a:ext cx="35718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DF8B29-02DB-4DDB-89C6-0C56C15025FE}" type="datetime'''''s''''e''''''''''''''''''p'''''">
              <a:rPr lang="da-DK" altLang="en-US" b="1" smtClean="0"/>
              <a:pPr/>
              <a:t>sep</a:t>
            </a:fld>
            <a:endParaRPr lang="da-DK" b="1" dirty="0"/>
          </a:p>
        </p:txBody>
      </p:sp>
      <p:sp>
        <p:nvSpPr>
          <p:cNvPr id="228" name="Pladsholder til tekst 3">
            <a:extLst>
              <a:ext uri="{FF2B5EF4-FFF2-40B4-BE49-F238E27FC236}">
                <a16:creationId xmlns:a16="http://schemas.microsoft.com/office/drawing/2014/main" id="{8AEF79C0-9B5B-4F7F-90C5-D9B53AF93EEA}"/>
              </a:ext>
            </a:extLst>
          </p:cNvPr>
          <p:cNvSpPr>
            <a:spLocks noGrp="1"/>
          </p:cNvSpPr>
          <p:nvPr>
            <p:custDataLst>
              <p:tags r:id="rId19"/>
            </p:custDataLst>
          </p:nvPr>
        </p:nvSpPr>
        <p:spPr bwMode="auto">
          <a:xfrm>
            <a:off x="7727949" y="600075"/>
            <a:ext cx="3683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4C06F0-A1EA-4E1A-B567-CC34EA7CA282}" type="datetime'o''k''t'''''''''''''''''''''''''''''''''''''''''''''''''''''''">
              <a:rPr lang="da-DK" altLang="en-US" b="1" smtClean="0"/>
              <a:pPr/>
              <a:t>okt</a:t>
            </a:fld>
            <a:endParaRPr lang="da-DK" b="1" dirty="0"/>
          </a:p>
        </p:txBody>
      </p:sp>
      <p:sp>
        <p:nvSpPr>
          <p:cNvPr id="235" name="Pladsholder til tekst 3">
            <a:extLst>
              <a:ext uri="{FF2B5EF4-FFF2-40B4-BE49-F238E27FC236}">
                <a16:creationId xmlns:a16="http://schemas.microsoft.com/office/drawing/2014/main" id="{0D26F1CF-8AAA-4CA8-9466-A15C2481670B}"/>
              </a:ext>
            </a:extLst>
          </p:cNvPr>
          <p:cNvSpPr>
            <a:spLocks noGrp="1"/>
          </p:cNvSpPr>
          <p:nvPr>
            <p:custDataLst>
              <p:tags r:id="rId20"/>
            </p:custDataLst>
          </p:nvPr>
        </p:nvSpPr>
        <p:spPr bwMode="auto">
          <a:xfrm>
            <a:off x="8096250" y="600075"/>
            <a:ext cx="3556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60D535-AA2D-4A24-8503-7823541A02BD}" type="datetime'''''''''no''''''''''v'''''''''''''''''''''''''''''">
              <a:rPr lang="da-DK" altLang="en-US" b="1" smtClean="0"/>
              <a:pPr/>
              <a:t>nov</a:t>
            </a:fld>
            <a:endParaRPr lang="da-DK" b="1" dirty="0"/>
          </a:p>
        </p:txBody>
      </p:sp>
      <p:sp>
        <p:nvSpPr>
          <p:cNvPr id="238" name="Pladsholder til tekst 3">
            <a:extLst>
              <a:ext uri="{FF2B5EF4-FFF2-40B4-BE49-F238E27FC236}">
                <a16:creationId xmlns:a16="http://schemas.microsoft.com/office/drawing/2014/main" id="{1D280F5D-50DB-4FCB-A390-230BA9A14272}"/>
              </a:ext>
            </a:extLst>
          </p:cNvPr>
          <p:cNvSpPr>
            <a:spLocks noGrp="1"/>
          </p:cNvSpPr>
          <p:nvPr>
            <p:custDataLst>
              <p:tags r:id="rId21"/>
            </p:custDataLst>
          </p:nvPr>
        </p:nvSpPr>
        <p:spPr bwMode="auto">
          <a:xfrm>
            <a:off x="8451849" y="600075"/>
            <a:ext cx="3683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EAAB98-85BA-4A8A-912A-10189AF1054E}" type="datetime'''''''''''''''''''''''''''''''''''d''''''''''''''''e''c'''''">
              <a:rPr lang="da-DK" altLang="en-US" b="1" smtClean="0"/>
              <a:pPr/>
              <a:t>dec</a:t>
            </a:fld>
            <a:endParaRPr lang="da-DK" b="1" dirty="0"/>
          </a:p>
        </p:txBody>
      </p:sp>
      <p:cxnSp>
        <p:nvCxnSpPr>
          <p:cNvPr id="265" name="Lige forbindelse 264">
            <a:extLst>
              <a:ext uri="{FF2B5EF4-FFF2-40B4-BE49-F238E27FC236}">
                <a16:creationId xmlns:a16="http://schemas.microsoft.com/office/drawing/2014/main" id="{B041933B-8D35-42E4-A8BB-025199FF364D}"/>
              </a:ext>
            </a:extLst>
          </p:cNvPr>
          <p:cNvCxnSpPr/>
          <p:nvPr>
            <p:custDataLst>
              <p:tags r:id="rId22"/>
            </p:custDataLst>
          </p:nvPr>
        </p:nvCxnSpPr>
        <p:spPr bwMode="auto">
          <a:xfrm>
            <a:off x="4484688"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a:extLst>
              <a:ext uri="{FF2B5EF4-FFF2-40B4-BE49-F238E27FC236}">
                <a16:creationId xmlns:a16="http://schemas.microsoft.com/office/drawing/2014/main" id="{3407A8A9-47F7-4D1A-9BB1-03DED4EE751A}"/>
              </a:ext>
            </a:extLst>
          </p:cNvPr>
          <p:cNvCxnSpPr/>
          <p:nvPr>
            <p:custDataLst>
              <p:tags r:id="rId23"/>
            </p:custDataLst>
          </p:nvPr>
        </p:nvCxnSpPr>
        <p:spPr bwMode="auto">
          <a:xfrm>
            <a:off x="4852988"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a:extLst>
              <a:ext uri="{FF2B5EF4-FFF2-40B4-BE49-F238E27FC236}">
                <a16:creationId xmlns:a16="http://schemas.microsoft.com/office/drawing/2014/main" id="{C3A62787-08AC-4F00-96F5-38EEB28CD9BA}"/>
              </a:ext>
            </a:extLst>
          </p:cNvPr>
          <p:cNvCxnSpPr/>
          <p:nvPr>
            <p:custDataLst>
              <p:tags r:id="rId24"/>
            </p:custDataLst>
          </p:nvPr>
        </p:nvCxnSpPr>
        <p:spPr bwMode="auto">
          <a:xfrm>
            <a:off x="5186363"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a:extLst>
              <a:ext uri="{FF2B5EF4-FFF2-40B4-BE49-F238E27FC236}">
                <a16:creationId xmlns:a16="http://schemas.microsoft.com/office/drawing/2014/main" id="{922759A0-620E-416B-A327-054B901F6386}"/>
              </a:ext>
            </a:extLst>
          </p:cNvPr>
          <p:cNvCxnSpPr/>
          <p:nvPr>
            <p:custDataLst>
              <p:tags r:id="rId25"/>
            </p:custDataLst>
          </p:nvPr>
        </p:nvCxnSpPr>
        <p:spPr bwMode="auto">
          <a:xfrm>
            <a:off x="5554663"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a:extLst>
              <a:ext uri="{FF2B5EF4-FFF2-40B4-BE49-F238E27FC236}">
                <a16:creationId xmlns:a16="http://schemas.microsoft.com/office/drawing/2014/main" id="{A520A668-E605-46FB-B797-BDC4587042FD}"/>
              </a:ext>
            </a:extLst>
          </p:cNvPr>
          <p:cNvCxnSpPr/>
          <p:nvPr>
            <p:custDataLst>
              <p:tags r:id="rId26"/>
            </p:custDataLst>
          </p:nvPr>
        </p:nvCxnSpPr>
        <p:spPr bwMode="auto">
          <a:xfrm>
            <a:off x="5910263"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a:extLst>
              <a:ext uri="{FF2B5EF4-FFF2-40B4-BE49-F238E27FC236}">
                <a16:creationId xmlns:a16="http://schemas.microsoft.com/office/drawing/2014/main" id="{89862991-8778-455B-B97E-BFD99B1EEF47}"/>
              </a:ext>
            </a:extLst>
          </p:cNvPr>
          <p:cNvCxnSpPr/>
          <p:nvPr>
            <p:custDataLst>
              <p:tags r:id="rId27"/>
            </p:custDataLst>
          </p:nvPr>
        </p:nvCxnSpPr>
        <p:spPr bwMode="auto">
          <a:xfrm>
            <a:off x="6278563"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a:extLst>
              <a:ext uri="{FF2B5EF4-FFF2-40B4-BE49-F238E27FC236}">
                <a16:creationId xmlns:a16="http://schemas.microsoft.com/office/drawing/2014/main" id="{C8D6C818-09A5-49C5-9712-2B692B30CBE6}"/>
              </a:ext>
            </a:extLst>
          </p:cNvPr>
          <p:cNvCxnSpPr/>
          <p:nvPr>
            <p:custDataLst>
              <p:tags r:id="rId28"/>
            </p:custDataLst>
          </p:nvPr>
        </p:nvCxnSpPr>
        <p:spPr bwMode="auto">
          <a:xfrm>
            <a:off x="6634163"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a:extLst>
              <a:ext uri="{FF2B5EF4-FFF2-40B4-BE49-F238E27FC236}">
                <a16:creationId xmlns:a16="http://schemas.microsoft.com/office/drawing/2014/main" id="{24ED9CB0-EA62-4B4D-B347-3A21510FAFB7}"/>
              </a:ext>
            </a:extLst>
          </p:cNvPr>
          <p:cNvCxnSpPr/>
          <p:nvPr>
            <p:custDataLst>
              <p:tags r:id="rId29"/>
            </p:custDataLst>
          </p:nvPr>
        </p:nvCxnSpPr>
        <p:spPr bwMode="auto">
          <a:xfrm>
            <a:off x="7002463"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Lige forbindelse 252">
            <a:extLst>
              <a:ext uri="{FF2B5EF4-FFF2-40B4-BE49-F238E27FC236}">
                <a16:creationId xmlns:a16="http://schemas.microsoft.com/office/drawing/2014/main" id="{778C9404-F877-4D78-A14C-AA91F51FE888}"/>
              </a:ext>
            </a:extLst>
          </p:cNvPr>
          <p:cNvCxnSpPr/>
          <p:nvPr>
            <p:custDataLst>
              <p:tags r:id="rId30"/>
            </p:custDataLst>
          </p:nvPr>
        </p:nvCxnSpPr>
        <p:spPr bwMode="auto">
          <a:xfrm>
            <a:off x="7370763"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a:extLst>
              <a:ext uri="{FF2B5EF4-FFF2-40B4-BE49-F238E27FC236}">
                <a16:creationId xmlns:a16="http://schemas.microsoft.com/office/drawing/2014/main" id="{C727B35E-A248-4A47-B27C-2CEA5E5005B3}"/>
              </a:ext>
            </a:extLst>
          </p:cNvPr>
          <p:cNvCxnSpPr/>
          <p:nvPr>
            <p:custDataLst>
              <p:tags r:id="rId31"/>
            </p:custDataLst>
          </p:nvPr>
        </p:nvCxnSpPr>
        <p:spPr bwMode="auto">
          <a:xfrm>
            <a:off x="7727950"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Lige forbindelse 255">
            <a:extLst>
              <a:ext uri="{FF2B5EF4-FFF2-40B4-BE49-F238E27FC236}">
                <a16:creationId xmlns:a16="http://schemas.microsoft.com/office/drawing/2014/main" id="{108A66C7-1DB2-481F-8575-A98697AF896B}"/>
              </a:ext>
            </a:extLst>
          </p:cNvPr>
          <p:cNvCxnSpPr/>
          <p:nvPr>
            <p:custDataLst>
              <p:tags r:id="rId32"/>
            </p:custDataLst>
          </p:nvPr>
        </p:nvCxnSpPr>
        <p:spPr bwMode="auto">
          <a:xfrm>
            <a:off x="8096250"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Lige forbindelse 257">
            <a:extLst>
              <a:ext uri="{FF2B5EF4-FFF2-40B4-BE49-F238E27FC236}">
                <a16:creationId xmlns:a16="http://schemas.microsoft.com/office/drawing/2014/main" id="{E540E5B6-0469-4B31-9432-D84EDC0A843A}"/>
              </a:ext>
            </a:extLst>
          </p:cNvPr>
          <p:cNvCxnSpPr/>
          <p:nvPr>
            <p:custDataLst>
              <p:tags r:id="rId33"/>
            </p:custDataLst>
          </p:nvPr>
        </p:nvCxnSpPr>
        <p:spPr bwMode="auto">
          <a:xfrm>
            <a:off x="3392488" y="860425"/>
            <a:ext cx="0" cy="35115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Lige forbindelse 262">
            <a:extLst>
              <a:ext uri="{FF2B5EF4-FFF2-40B4-BE49-F238E27FC236}">
                <a16:creationId xmlns:a16="http://schemas.microsoft.com/office/drawing/2014/main" id="{397BEDE5-216F-42F6-96E8-9DA140A4F759}"/>
              </a:ext>
            </a:extLst>
          </p:cNvPr>
          <p:cNvCxnSpPr/>
          <p:nvPr>
            <p:custDataLst>
              <p:tags r:id="rId34"/>
            </p:custDataLst>
          </p:nvPr>
        </p:nvCxnSpPr>
        <p:spPr bwMode="auto">
          <a:xfrm>
            <a:off x="8820150" y="860425"/>
            <a:ext cx="0" cy="35115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Lige forbindelse 261">
            <a:extLst>
              <a:ext uri="{FF2B5EF4-FFF2-40B4-BE49-F238E27FC236}">
                <a16:creationId xmlns:a16="http://schemas.microsoft.com/office/drawing/2014/main" id="{CE92119C-011C-42A7-A7B7-EB13262D0F7F}"/>
              </a:ext>
            </a:extLst>
          </p:cNvPr>
          <p:cNvCxnSpPr/>
          <p:nvPr>
            <p:custDataLst>
              <p:tags r:id="rId35"/>
            </p:custDataLst>
          </p:nvPr>
        </p:nvCxnSpPr>
        <p:spPr bwMode="auto">
          <a:xfrm>
            <a:off x="323850" y="860425"/>
            <a:ext cx="0" cy="35115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Lige forbindelse 256">
            <a:extLst>
              <a:ext uri="{FF2B5EF4-FFF2-40B4-BE49-F238E27FC236}">
                <a16:creationId xmlns:a16="http://schemas.microsoft.com/office/drawing/2014/main" id="{0D8E0CD4-10C6-4DD0-8B68-0771E503CEA6}"/>
              </a:ext>
            </a:extLst>
          </p:cNvPr>
          <p:cNvCxnSpPr/>
          <p:nvPr>
            <p:custDataLst>
              <p:tags r:id="rId36"/>
            </p:custDataLst>
          </p:nvPr>
        </p:nvCxnSpPr>
        <p:spPr bwMode="auto">
          <a:xfrm>
            <a:off x="8451850"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Lige forbindelse 249">
            <a:extLst>
              <a:ext uri="{FF2B5EF4-FFF2-40B4-BE49-F238E27FC236}">
                <a16:creationId xmlns:a16="http://schemas.microsoft.com/office/drawing/2014/main" id="{BD25F779-E698-4BB3-BC36-235F755AF21A}"/>
              </a:ext>
            </a:extLst>
          </p:cNvPr>
          <p:cNvCxnSpPr/>
          <p:nvPr>
            <p:custDataLst>
              <p:tags r:id="rId37"/>
            </p:custDataLst>
          </p:nvPr>
        </p:nvCxnSpPr>
        <p:spPr bwMode="auto">
          <a:xfrm>
            <a:off x="3760788"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Lige forbindelse 263">
            <a:extLst>
              <a:ext uri="{FF2B5EF4-FFF2-40B4-BE49-F238E27FC236}">
                <a16:creationId xmlns:a16="http://schemas.microsoft.com/office/drawing/2014/main" id="{BC866BA8-29B3-495A-8963-0A1C0F61463F}"/>
              </a:ext>
            </a:extLst>
          </p:cNvPr>
          <p:cNvCxnSpPr/>
          <p:nvPr>
            <p:custDataLst>
              <p:tags r:id="rId38"/>
            </p:custDataLst>
          </p:nvPr>
        </p:nvCxnSpPr>
        <p:spPr bwMode="auto">
          <a:xfrm>
            <a:off x="4116388" y="860425"/>
            <a:ext cx="0" cy="35115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Lige forbindelse 265">
            <a:extLst>
              <a:ext uri="{FF2B5EF4-FFF2-40B4-BE49-F238E27FC236}">
                <a16:creationId xmlns:a16="http://schemas.microsoft.com/office/drawing/2014/main" id="{6C7C5FC1-B826-4762-A75A-6015AFE5A543}"/>
              </a:ext>
            </a:extLst>
          </p:cNvPr>
          <p:cNvCxnSpPr/>
          <p:nvPr>
            <p:custDataLst>
              <p:tags r:id="rId39"/>
            </p:custDataLst>
          </p:nvPr>
        </p:nvCxnSpPr>
        <p:spPr bwMode="auto">
          <a:xfrm>
            <a:off x="323850" y="1208088"/>
            <a:ext cx="849630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Lige forbindelse 268">
            <a:extLst>
              <a:ext uri="{FF2B5EF4-FFF2-40B4-BE49-F238E27FC236}">
                <a16:creationId xmlns:a16="http://schemas.microsoft.com/office/drawing/2014/main" id="{9E5DF550-288D-46D2-94EF-7EBF30273D8E}"/>
              </a:ext>
            </a:extLst>
          </p:cNvPr>
          <p:cNvCxnSpPr/>
          <p:nvPr>
            <p:custDataLst>
              <p:tags r:id="rId40"/>
            </p:custDataLst>
          </p:nvPr>
        </p:nvCxnSpPr>
        <p:spPr bwMode="auto">
          <a:xfrm>
            <a:off x="323850" y="2616200"/>
            <a:ext cx="849630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Lige forbindelse 266">
            <a:extLst>
              <a:ext uri="{FF2B5EF4-FFF2-40B4-BE49-F238E27FC236}">
                <a16:creationId xmlns:a16="http://schemas.microsoft.com/office/drawing/2014/main" id="{A593C340-E1E8-4D44-9EE6-F0713B41C971}"/>
              </a:ext>
            </a:extLst>
          </p:cNvPr>
          <p:cNvCxnSpPr/>
          <p:nvPr>
            <p:custDataLst>
              <p:tags r:id="rId41"/>
            </p:custDataLst>
          </p:nvPr>
        </p:nvCxnSpPr>
        <p:spPr bwMode="auto">
          <a:xfrm>
            <a:off x="323850" y="1676400"/>
            <a:ext cx="849630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Lige forbindelse 267">
            <a:extLst>
              <a:ext uri="{FF2B5EF4-FFF2-40B4-BE49-F238E27FC236}">
                <a16:creationId xmlns:a16="http://schemas.microsoft.com/office/drawing/2014/main" id="{74D87315-3A8F-4302-B73C-BE178A98C383}"/>
              </a:ext>
            </a:extLst>
          </p:cNvPr>
          <p:cNvCxnSpPr/>
          <p:nvPr>
            <p:custDataLst>
              <p:tags r:id="rId42"/>
            </p:custDataLst>
          </p:nvPr>
        </p:nvCxnSpPr>
        <p:spPr bwMode="auto">
          <a:xfrm>
            <a:off x="323850" y="2146300"/>
            <a:ext cx="849630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Lige forbindelse 270">
            <a:extLst>
              <a:ext uri="{FF2B5EF4-FFF2-40B4-BE49-F238E27FC236}">
                <a16:creationId xmlns:a16="http://schemas.microsoft.com/office/drawing/2014/main" id="{FF5A4896-D9AA-49A3-B1A0-7BBA6947C36E}"/>
              </a:ext>
            </a:extLst>
          </p:cNvPr>
          <p:cNvCxnSpPr/>
          <p:nvPr>
            <p:custDataLst>
              <p:tags r:id="rId43"/>
            </p:custDataLst>
          </p:nvPr>
        </p:nvCxnSpPr>
        <p:spPr bwMode="auto">
          <a:xfrm>
            <a:off x="323850" y="3902075"/>
            <a:ext cx="849630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Lige forbindelse 269">
            <a:extLst>
              <a:ext uri="{FF2B5EF4-FFF2-40B4-BE49-F238E27FC236}">
                <a16:creationId xmlns:a16="http://schemas.microsoft.com/office/drawing/2014/main" id="{D5E99569-0FFC-40EE-91D6-550C46928889}"/>
              </a:ext>
            </a:extLst>
          </p:cNvPr>
          <p:cNvCxnSpPr/>
          <p:nvPr>
            <p:custDataLst>
              <p:tags r:id="rId44"/>
            </p:custDataLst>
          </p:nvPr>
        </p:nvCxnSpPr>
        <p:spPr bwMode="auto">
          <a:xfrm>
            <a:off x="323850" y="2963863"/>
            <a:ext cx="849630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Lige forbindelse 273">
            <a:extLst>
              <a:ext uri="{FF2B5EF4-FFF2-40B4-BE49-F238E27FC236}">
                <a16:creationId xmlns:a16="http://schemas.microsoft.com/office/drawing/2014/main" id="{FC33A9A6-D8A5-4F7E-992C-3D197EEF3AD9}"/>
              </a:ext>
            </a:extLst>
          </p:cNvPr>
          <p:cNvCxnSpPr/>
          <p:nvPr>
            <p:custDataLst>
              <p:tags r:id="rId45"/>
            </p:custDataLst>
          </p:nvPr>
        </p:nvCxnSpPr>
        <p:spPr bwMode="auto">
          <a:xfrm>
            <a:off x="323850" y="3432175"/>
            <a:ext cx="849630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Lige forbindelse 274">
            <a:extLst>
              <a:ext uri="{FF2B5EF4-FFF2-40B4-BE49-F238E27FC236}">
                <a16:creationId xmlns:a16="http://schemas.microsoft.com/office/drawing/2014/main" id="{4DBCEB0D-9B7A-421A-A1FE-2A7A4A8A00A1}"/>
              </a:ext>
            </a:extLst>
          </p:cNvPr>
          <p:cNvCxnSpPr/>
          <p:nvPr>
            <p:custDataLst>
              <p:tags r:id="rId46"/>
            </p:custDataLst>
          </p:nvPr>
        </p:nvCxnSpPr>
        <p:spPr bwMode="auto">
          <a:xfrm>
            <a:off x="323850" y="4371975"/>
            <a:ext cx="84963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Lige forbindelse 275">
            <a:extLst>
              <a:ext uri="{FF2B5EF4-FFF2-40B4-BE49-F238E27FC236}">
                <a16:creationId xmlns:a16="http://schemas.microsoft.com/office/drawing/2014/main" id="{4A008080-23C5-41FE-807E-E4AA52A836B1}"/>
              </a:ext>
            </a:extLst>
          </p:cNvPr>
          <p:cNvCxnSpPr/>
          <p:nvPr>
            <p:custDataLst>
              <p:tags r:id="rId47"/>
            </p:custDataLst>
          </p:nvPr>
        </p:nvCxnSpPr>
        <p:spPr bwMode="auto">
          <a:xfrm>
            <a:off x="323850" y="860425"/>
            <a:ext cx="84963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Rektangel 11">
            <a:extLst>
              <a:ext uri="{FF2B5EF4-FFF2-40B4-BE49-F238E27FC236}">
                <a16:creationId xmlns:a16="http://schemas.microsoft.com/office/drawing/2014/main" id="{72D39F63-B432-471A-A98D-73B93BE02321}"/>
              </a:ext>
            </a:extLst>
          </p:cNvPr>
          <p:cNvSpPr/>
          <p:nvPr>
            <p:custDataLst>
              <p:tags r:id="rId48"/>
            </p:custDataLst>
          </p:nvPr>
        </p:nvSpPr>
        <p:spPr bwMode="auto">
          <a:xfrm>
            <a:off x="3392488" y="1328738"/>
            <a:ext cx="19716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7" name="Rektangel 276">
            <a:extLst>
              <a:ext uri="{FF2B5EF4-FFF2-40B4-BE49-F238E27FC236}">
                <a16:creationId xmlns:a16="http://schemas.microsoft.com/office/drawing/2014/main" id="{70B4514C-18D9-4689-890D-D1910FFB0941}"/>
              </a:ext>
            </a:extLst>
          </p:cNvPr>
          <p:cNvSpPr/>
          <p:nvPr>
            <p:custDataLst>
              <p:tags r:id="rId49"/>
            </p:custDataLst>
          </p:nvPr>
        </p:nvSpPr>
        <p:spPr bwMode="auto">
          <a:xfrm>
            <a:off x="3392488" y="1797050"/>
            <a:ext cx="1924050"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2" name="Rektangel 281">
            <a:extLst>
              <a:ext uri="{FF2B5EF4-FFF2-40B4-BE49-F238E27FC236}">
                <a16:creationId xmlns:a16="http://schemas.microsoft.com/office/drawing/2014/main" id="{9301F106-BDC7-4F37-9A7F-1E56DC36F4D5}"/>
              </a:ext>
            </a:extLst>
          </p:cNvPr>
          <p:cNvSpPr/>
          <p:nvPr>
            <p:custDataLst>
              <p:tags r:id="rId50"/>
            </p:custDataLst>
          </p:nvPr>
        </p:nvSpPr>
        <p:spPr bwMode="auto">
          <a:xfrm>
            <a:off x="3392488" y="4022725"/>
            <a:ext cx="1971675" cy="98425"/>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19050" cap="flat" cmpd="sng" algn="ctr">
                <a:solidFill>
                  <a:schemeClr val="tx1"/>
                </a:solidFill>
                <a:prstDash val="dash"/>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0" name="Rektangel 279">
            <a:extLst>
              <a:ext uri="{FF2B5EF4-FFF2-40B4-BE49-F238E27FC236}">
                <a16:creationId xmlns:a16="http://schemas.microsoft.com/office/drawing/2014/main" id="{1F56914D-0AA6-415E-ABCC-148BD15C371D}"/>
              </a:ext>
            </a:extLst>
          </p:cNvPr>
          <p:cNvSpPr/>
          <p:nvPr>
            <p:custDataLst>
              <p:tags r:id="rId51"/>
            </p:custDataLst>
          </p:nvPr>
        </p:nvSpPr>
        <p:spPr bwMode="auto">
          <a:xfrm>
            <a:off x="3392488" y="3084513"/>
            <a:ext cx="1971675" cy="98425"/>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19050" cap="flat" cmpd="sng" algn="ctr">
                <a:solidFill>
                  <a:schemeClr val="tx1"/>
                </a:solidFill>
                <a:prstDash val="dash"/>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1" name="Rektangel 280">
            <a:extLst>
              <a:ext uri="{FF2B5EF4-FFF2-40B4-BE49-F238E27FC236}">
                <a16:creationId xmlns:a16="http://schemas.microsoft.com/office/drawing/2014/main" id="{65E5C6AD-5B3F-401B-AE58-BA74C72B8998}"/>
              </a:ext>
            </a:extLst>
          </p:cNvPr>
          <p:cNvSpPr/>
          <p:nvPr>
            <p:custDataLst>
              <p:tags r:id="rId52"/>
            </p:custDataLst>
          </p:nvPr>
        </p:nvSpPr>
        <p:spPr bwMode="auto">
          <a:xfrm>
            <a:off x="3392488" y="3552825"/>
            <a:ext cx="1971675" cy="98425"/>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19050" cap="flat" cmpd="sng" algn="ctr">
                <a:solidFill>
                  <a:schemeClr val="tx1"/>
                </a:solidFill>
                <a:prstDash val="dash"/>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 name="Rektangel 13">
            <a:extLst>
              <a:ext uri="{FF2B5EF4-FFF2-40B4-BE49-F238E27FC236}">
                <a16:creationId xmlns:a16="http://schemas.microsoft.com/office/drawing/2014/main" id="{E51E89EA-E8BC-4AF3-8996-7855202FFD1B}"/>
              </a:ext>
            </a:extLst>
          </p:cNvPr>
          <p:cNvSpPr/>
          <p:nvPr>
            <p:custDataLst>
              <p:tags r:id="rId53"/>
            </p:custDataLst>
          </p:nvPr>
        </p:nvSpPr>
        <p:spPr bwMode="auto">
          <a:xfrm>
            <a:off x="3392488" y="2276475"/>
            <a:ext cx="5380038" cy="79375"/>
          </a:xfrm>
          <a:prstGeom prst="rect">
            <a:avLst/>
          </a:prstGeom>
          <a:solidFill>
            <a:schemeClr val="bg1"/>
          </a:solidFill>
          <a:ln w="19050" cap="flat" cmpd="sng" algn="ctr">
            <a:solidFill>
              <a:srgbClr val="C30C3E"/>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9" name="Rektangel 278">
            <a:extLst>
              <a:ext uri="{FF2B5EF4-FFF2-40B4-BE49-F238E27FC236}">
                <a16:creationId xmlns:a16="http://schemas.microsoft.com/office/drawing/2014/main" id="{9A749A11-6EC6-44A2-BE52-59AF7AF03AE5}"/>
              </a:ext>
            </a:extLst>
          </p:cNvPr>
          <p:cNvSpPr/>
          <p:nvPr>
            <p:custDataLst>
              <p:tags r:id="rId54"/>
            </p:custDataLst>
          </p:nvPr>
        </p:nvSpPr>
        <p:spPr bwMode="auto">
          <a:xfrm>
            <a:off x="3392488" y="2746375"/>
            <a:ext cx="5427663" cy="79375"/>
          </a:xfrm>
          <a:prstGeom prst="rect">
            <a:avLst/>
          </a:prstGeom>
          <a:solidFill>
            <a:schemeClr val="bg1"/>
          </a:solidFill>
          <a:ln w="19050" cap="flat" cmpd="sng" algn="ctr">
            <a:solidFill>
              <a:schemeClr val="accent2"/>
            </a:solidFill>
            <a:prstDash val="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Rombe 14">
            <a:extLst>
              <a:ext uri="{FF2B5EF4-FFF2-40B4-BE49-F238E27FC236}">
                <a16:creationId xmlns:a16="http://schemas.microsoft.com/office/drawing/2014/main" id="{68F70091-00BA-4FE8-8263-B91F5333E901}"/>
              </a:ext>
            </a:extLst>
          </p:cNvPr>
          <p:cNvSpPr/>
          <p:nvPr>
            <p:custDataLst>
              <p:tags r:id="rId55"/>
            </p:custDataLst>
          </p:nvPr>
        </p:nvSpPr>
        <p:spPr bwMode="gray">
          <a:xfrm>
            <a:off x="5283200" y="1320800"/>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3" name="Rombe 282">
            <a:extLst>
              <a:ext uri="{FF2B5EF4-FFF2-40B4-BE49-F238E27FC236}">
                <a16:creationId xmlns:a16="http://schemas.microsoft.com/office/drawing/2014/main" id="{A29FEBEF-6B00-403F-B891-F05142DA44B0}"/>
              </a:ext>
            </a:extLst>
          </p:cNvPr>
          <p:cNvSpPr/>
          <p:nvPr>
            <p:custDataLst>
              <p:tags r:id="rId56"/>
            </p:custDataLst>
          </p:nvPr>
        </p:nvSpPr>
        <p:spPr bwMode="gray">
          <a:xfrm>
            <a:off x="5270500" y="17891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ombe 17">
            <a:extLst>
              <a:ext uri="{FF2B5EF4-FFF2-40B4-BE49-F238E27FC236}">
                <a16:creationId xmlns:a16="http://schemas.microsoft.com/office/drawing/2014/main" id="{3F63A384-7B95-457A-87CA-C72E8EF371D1}"/>
              </a:ext>
            </a:extLst>
          </p:cNvPr>
          <p:cNvSpPr/>
          <p:nvPr>
            <p:custDataLst>
              <p:tags r:id="rId57"/>
            </p:custDataLst>
          </p:nvPr>
        </p:nvSpPr>
        <p:spPr bwMode="gray">
          <a:xfrm>
            <a:off x="5307013" y="3076575"/>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Rombe 18">
            <a:extLst>
              <a:ext uri="{FF2B5EF4-FFF2-40B4-BE49-F238E27FC236}">
                <a16:creationId xmlns:a16="http://schemas.microsoft.com/office/drawing/2014/main" id="{216BB86C-EBC0-42B4-94FA-EF4948A13114}"/>
              </a:ext>
            </a:extLst>
          </p:cNvPr>
          <p:cNvSpPr/>
          <p:nvPr>
            <p:custDataLst>
              <p:tags r:id="rId58"/>
            </p:custDataLst>
          </p:nvPr>
        </p:nvSpPr>
        <p:spPr bwMode="gray">
          <a:xfrm>
            <a:off x="5307013" y="354488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Rombe 19">
            <a:extLst>
              <a:ext uri="{FF2B5EF4-FFF2-40B4-BE49-F238E27FC236}">
                <a16:creationId xmlns:a16="http://schemas.microsoft.com/office/drawing/2014/main" id="{8A5A7E32-E0A3-4CA1-80A5-885BFE7C1105}"/>
              </a:ext>
            </a:extLst>
          </p:cNvPr>
          <p:cNvSpPr/>
          <p:nvPr>
            <p:custDataLst>
              <p:tags r:id="rId59"/>
            </p:custDataLst>
          </p:nvPr>
        </p:nvSpPr>
        <p:spPr bwMode="gray">
          <a:xfrm>
            <a:off x="5307013" y="401478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5" name="Pladsholder til tekst 3">
            <a:extLst>
              <a:ext uri="{FF2B5EF4-FFF2-40B4-BE49-F238E27FC236}">
                <a16:creationId xmlns:a16="http://schemas.microsoft.com/office/drawing/2014/main" id="{923ED1A0-FBFE-4927-A454-3D39E8C4DB55}"/>
              </a:ext>
            </a:extLst>
          </p:cNvPr>
          <p:cNvSpPr>
            <a:spLocks noGrp="1"/>
          </p:cNvSpPr>
          <p:nvPr>
            <p:custDataLst>
              <p:tags r:id="rId60"/>
            </p:custDataLst>
          </p:nvPr>
        </p:nvSpPr>
        <p:spPr bwMode="auto">
          <a:xfrm>
            <a:off x="395288" y="973138"/>
            <a:ext cx="4746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solidFill>
                  <a:schemeClr val="bg1"/>
                </a:solidFill>
              </a:rPr>
              <a:t>Leverancer</a:t>
            </a:r>
          </a:p>
        </p:txBody>
      </p:sp>
      <p:sp>
        <p:nvSpPr>
          <p:cNvPr id="286" name="Pladsholder til tekst 3">
            <a:extLst>
              <a:ext uri="{FF2B5EF4-FFF2-40B4-BE49-F238E27FC236}">
                <a16:creationId xmlns:a16="http://schemas.microsoft.com/office/drawing/2014/main" id="{297F9CB2-0584-428D-8A9D-E71661B5455E}"/>
              </a:ext>
            </a:extLst>
          </p:cNvPr>
          <p:cNvSpPr>
            <a:spLocks noGrp="1"/>
          </p:cNvSpPr>
          <p:nvPr>
            <p:custDataLst>
              <p:tags r:id="rId61"/>
            </p:custDataLst>
          </p:nvPr>
        </p:nvSpPr>
        <p:spPr bwMode="auto">
          <a:xfrm>
            <a:off x="395288" y="1320800"/>
            <a:ext cx="223043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t>Leverance 8: </a:t>
            </a:r>
            <a:r>
              <a:rPr lang="da-DK" sz="800" dirty="0">
                <a:ea typeface="Calibri" panose="020F0502020204030204" pitchFamily="34" charset="0"/>
                <a:cs typeface="Calibri" panose="020F0502020204030204" pitchFamily="34" charset="0"/>
              </a:rPr>
              <a:t>Fælles retningslinjer for håndtering af </a:t>
            </a:r>
          </a:p>
          <a:p>
            <a:pPr marL="0" indent="0">
              <a:spcBef>
                <a:spcPts val="0"/>
              </a:spcBef>
              <a:spcAft>
                <a:spcPts val="0"/>
              </a:spcAft>
              <a:buNone/>
              <a:defRPr/>
            </a:pPr>
            <a:r>
              <a:rPr lang="da-DK" sz="800" dirty="0">
                <a:ea typeface="Calibri" panose="020F0502020204030204" pitchFamily="34" charset="0"/>
                <a:cs typeface="Calibri" panose="020F0502020204030204" pitchFamily="34" charset="0"/>
              </a:rPr>
              <a:t>fortrolighed</a:t>
            </a:r>
          </a:p>
        </p:txBody>
      </p:sp>
      <p:sp>
        <p:nvSpPr>
          <p:cNvPr id="287" name="Pladsholder til tekst 3">
            <a:extLst>
              <a:ext uri="{FF2B5EF4-FFF2-40B4-BE49-F238E27FC236}">
                <a16:creationId xmlns:a16="http://schemas.microsoft.com/office/drawing/2014/main" id="{D400BB39-27DE-432B-8446-9204D2084C6D}"/>
              </a:ext>
            </a:extLst>
          </p:cNvPr>
          <p:cNvSpPr>
            <a:spLocks noGrp="1"/>
          </p:cNvSpPr>
          <p:nvPr>
            <p:custDataLst>
              <p:tags r:id="rId62"/>
            </p:custDataLst>
          </p:nvPr>
        </p:nvSpPr>
        <p:spPr bwMode="auto">
          <a:xfrm>
            <a:off x="395288" y="1789113"/>
            <a:ext cx="267811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9</a:t>
            </a:r>
            <a:r>
              <a:rPr lang="da-DK" sz="800" dirty="0"/>
              <a:t>. </a:t>
            </a:r>
            <a:r>
              <a:rPr lang="da-DK" sz="800" dirty="0">
                <a:cs typeface="Calibri" panose="020F0502020204030204" pitchFamily="34" charset="0"/>
              </a:rPr>
              <a:t>Redegørelse for relevante GDPR-problematikker</a:t>
            </a:r>
          </a:p>
          <a:p>
            <a:pPr marL="0" indent="0">
              <a:spcBef>
                <a:spcPct val="0"/>
              </a:spcBef>
              <a:spcAft>
                <a:spcPct val="0"/>
              </a:spcAft>
              <a:buNone/>
            </a:pPr>
            <a:r>
              <a:rPr lang="da-DK" sz="800" dirty="0">
                <a:cs typeface="Calibri" panose="020F0502020204030204" pitchFamily="34" charset="0"/>
              </a:rPr>
              <a:t> i forbindelse med udlevering af forsyningsdata</a:t>
            </a:r>
            <a:endParaRPr lang="da-DK" sz="700" dirty="0"/>
          </a:p>
        </p:txBody>
      </p:sp>
      <p:sp>
        <p:nvSpPr>
          <p:cNvPr id="288" name="Pladsholder til tekst 3">
            <a:extLst>
              <a:ext uri="{FF2B5EF4-FFF2-40B4-BE49-F238E27FC236}">
                <a16:creationId xmlns:a16="http://schemas.microsoft.com/office/drawing/2014/main" id="{52E4C46D-8790-41F1-8419-2F44F41F14DB}"/>
              </a:ext>
            </a:extLst>
          </p:cNvPr>
          <p:cNvSpPr>
            <a:spLocks noGrp="1"/>
          </p:cNvSpPr>
          <p:nvPr>
            <p:custDataLst>
              <p:tags r:id="rId63"/>
            </p:custDataLst>
          </p:nvPr>
        </p:nvSpPr>
        <p:spPr bwMode="auto">
          <a:xfrm>
            <a:off x="395288" y="2259013"/>
            <a:ext cx="245427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10: </a:t>
            </a:r>
            <a:r>
              <a:rPr lang="da-DK" altLang="en-US" sz="800" dirty="0"/>
              <a:t>Analyse af sektorkobling i relation til FDP’s</a:t>
            </a:r>
          </a:p>
          <a:p>
            <a:pPr marL="0" indent="0">
              <a:spcBef>
                <a:spcPct val="0"/>
              </a:spcBef>
              <a:spcAft>
                <a:spcPct val="0"/>
              </a:spcAft>
              <a:buNone/>
            </a:pPr>
            <a:r>
              <a:rPr lang="da-DK" sz="800" dirty="0"/>
              <a:t>genstandsfelt</a:t>
            </a:r>
          </a:p>
        </p:txBody>
      </p:sp>
      <p:sp>
        <p:nvSpPr>
          <p:cNvPr id="289" name="Pladsholder til tekst 3">
            <a:extLst>
              <a:ext uri="{FF2B5EF4-FFF2-40B4-BE49-F238E27FC236}">
                <a16:creationId xmlns:a16="http://schemas.microsoft.com/office/drawing/2014/main" id="{BB533C2C-5F56-4888-8E97-D8C8154025AA}"/>
              </a:ext>
            </a:extLst>
          </p:cNvPr>
          <p:cNvSpPr>
            <a:spLocks noGrp="1"/>
          </p:cNvSpPr>
          <p:nvPr>
            <p:custDataLst>
              <p:tags r:id="rId64"/>
            </p:custDataLst>
          </p:nvPr>
        </p:nvSpPr>
        <p:spPr bwMode="auto">
          <a:xfrm>
            <a:off x="395288" y="2728913"/>
            <a:ext cx="25336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solidFill>
                  <a:schemeClr val="dk1"/>
                </a:solidFill>
              </a:rPr>
              <a:t>Leverance 11</a:t>
            </a:r>
            <a:r>
              <a:rPr lang="da-DK" sz="800" dirty="0">
                <a:solidFill>
                  <a:schemeClr val="dk1"/>
                </a:solidFill>
              </a:rPr>
              <a:t>: Redegørelse for igangværende EU-initiativer</a:t>
            </a:r>
            <a:endParaRPr lang="da-DK" sz="800" dirty="0">
              <a:cs typeface="Calibri" panose="020F0502020204030204" pitchFamily="34" charset="0"/>
            </a:endParaRPr>
          </a:p>
        </p:txBody>
      </p:sp>
      <p:sp>
        <p:nvSpPr>
          <p:cNvPr id="292" name="Pladsholder til tekst 3">
            <a:extLst>
              <a:ext uri="{FF2B5EF4-FFF2-40B4-BE49-F238E27FC236}">
                <a16:creationId xmlns:a16="http://schemas.microsoft.com/office/drawing/2014/main" id="{308F9CC1-8E0B-49B8-AC64-07E136E4834A}"/>
              </a:ext>
            </a:extLst>
          </p:cNvPr>
          <p:cNvSpPr>
            <a:spLocks noGrp="1"/>
          </p:cNvSpPr>
          <p:nvPr>
            <p:custDataLst>
              <p:tags r:id="rId65"/>
            </p:custDataLst>
          </p:nvPr>
        </p:nvSpPr>
        <p:spPr bwMode="auto">
          <a:xfrm>
            <a:off x="395288" y="4014788"/>
            <a:ext cx="292576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1.1: </a:t>
            </a:r>
            <a:r>
              <a:rPr lang="da-DK" sz="800" dirty="0">
                <a:cs typeface="Calibri" panose="020F0502020204030204" pitchFamily="34" charset="0"/>
              </a:rPr>
              <a:t>Analyse af datamæssige og tekniske forudsætninger </a:t>
            </a:r>
          </a:p>
          <a:p>
            <a:pPr marL="0" indent="0">
              <a:spcBef>
                <a:spcPct val="0"/>
              </a:spcBef>
              <a:spcAft>
                <a:spcPct val="0"/>
              </a:spcAft>
              <a:buNone/>
            </a:pPr>
            <a:r>
              <a:rPr lang="da-DK" sz="800" dirty="0">
                <a:cs typeface="Calibri" panose="020F0502020204030204" pitchFamily="34" charset="0"/>
              </a:rPr>
              <a:t>for realisering af centrale udfordringer på forsyningsområdet</a:t>
            </a:r>
            <a:endParaRPr lang="da-DK" sz="800" dirty="0"/>
          </a:p>
        </p:txBody>
      </p:sp>
      <p:sp>
        <p:nvSpPr>
          <p:cNvPr id="295" name="Pladsholder til tekst 3">
            <a:extLst>
              <a:ext uri="{FF2B5EF4-FFF2-40B4-BE49-F238E27FC236}">
                <a16:creationId xmlns:a16="http://schemas.microsoft.com/office/drawing/2014/main" id="{28148C99-E414-466C-BA55-889CF674C6AD}"/>
              </a:ext>
            </a:extLst>
          </p:cNvPr>
          <p:cNvSpPr>
            <a:spLocks noGrp="1"/>
          </p:cNvSpPr>
          <p:nvPr>
            <p:custDataLst>
              <p:tags r:id="rId66"/>
            </p:custDataLst>
          </p:nvPr>
        </p:nvSpPr>
        <p:spPr bwMode="auto">
          <a:xfrm>
            <a:off x="395288" y="623888"/>
            <a:ext cx="6191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63376A-1932-46D3-B649-9CE7A8C3B34D}" type="datetime'''A''''''''kti''''''''''v''''i''''''t''''''e''''t'''''''''''">
              <a:rPr lang="da-DK" altLang="en-US" b="1" smtClean="0"/>
              <a:pPr/>
              <a:t>Aktivitet</a:t>
            </a:fld>
            <a:endParaRPr lang="da-DK" b="1" dirty="0"/>
          </a:p>
        </p:txBody>
      </p:sp>
      <p:sp>
        <p:nvSpPr>
          <p:cNvPr id="290" name="Pladsholder til tekst 3">
            <a:extLst>
              <a:ext uri="{FF2B5EF4-FFF2-40B4-BE49-F238E27FC236}">
                <a16:creationId xmlns:a16="http://schemas.microsoft.com/office/drawing/2014/main" id="{96B97A96-34DD-4657-91DD-2C87B031228A}"/>
              </a:ext>
            </a:extLst>
          </p:cNvPr>
          <p:cNvSpPr>
            <a:spLocks noGrp="1"/>
          </p:cNvSpPr>
          <p:nvPr>
            <p:custDataLst>
              <p:tags r:id="rId67"/>
            </p:custDataLst>
          </p:nvPr>
        </p:nvSpPr>
        <p:spPr bwMode="auto">
          <a:xfrm>
            <a:off x="395289" y="3076575"/>
            <a:ext cx="186372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12</a:t>
            </a:r>
            <a:r>
              <a:rPr lang="da-DK" altLang="en-US" sz="800" dirty="0"/>
              <a:t>: </a:t>
            </a:r>
            <a:r>
              <a:rPr lang="da-DK" sz="800" dirty="0"/>
              <a:t>Anbefaling vedr. ændring af </a:t>
            </a:r>
          </a:p>
          <a:p>
            <a:pPr marL="0" indent="0">
              <a:spcBef>
                <a:spcPct val="0"/>
              </a:spcBef>
              <a:spcAft>
                <a:spcPct val="0"/>
              </a:spcAft>
              <a:buNone/>
            </a:pPr>
            <a:r>
              <a:rPr lang="da-DK" sz="800" dirty="0"/>
              <a:t>regulering omkring BBR-forbrugsdata</a:t>
            </a:r>
          </a:p>
        </p:txBody>
      </p:sp>
      <p:sp>
        <p:nvSpPr>
          <p:cNvPr id="291" name="Pladsholder til tekst 3">
            <a:extLst>
              <a:ext uri="{FF2B5EF4-FFF2-40B4-BE49-F238E27FC236}">
                <a16:creationId xmlns:a16="http://schemas.microsoft.com/office/drawing/2014/main" id="{0BC6D56E-6FB2-4AB4-AC90-55FBA43E20A3}"/>
              </a:ext>
            </a:extLst>
          </p:cNvPr>
          <p:cNvSpPr>
            <a:spLocks noGrp="1"/>
          </p:cNvSpPr>
          <p:nvPr>
            <p:custDataLst>
              <p:tags r:id="rId68"/>
            </p:custDataLst>
          </p:nvPr>
        </p:nvSpPr>
        <p:spPr bwMode="auto">
          <a:xfrm>
            <a:off x="395288" y="3544888"/>
            <a:ext cx="230028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lang="da-DK" altLang="en-US" sz="800" b="1" dirty="0"/>
              <a:t>Leverance 13: </a:t>
            </a:r>
            <a:r>
              <a:rPr lang="da-DK" sz="800" dirty="0">
                <a:cs typeface="Calibri" panose="020F0502020204030204" pitchFamily="34" charset="0"/>
              </a:rPr>
              <a:t>Fælles byggeblokke og standarder for </a:t>
            </a:r>
          </a:p>
          <a:p>
            <a:pPr marL="0" indent="0">
              <a:spcBef>
                <a:spcPct val="0"/>
              </a:spcBef>
              <a:spcAft>
                <a:spcPct val="0"/>
              </a:spcAft>
              <a:buNone/>
              <a:defRPr/>
            </a:pPr>
            <a:r>
              <a:rPr lang="da-DK" sz="800" dirty="0">
                <a:cs typeface="Calibri" panose="020F0502020204030204" pitchFamily="34" charset="0"/>
              </a:rPr>
              <a:t>forsyningsområdet</a:t>
            </a:r>
          </a:p>
        </p:txBody>
      </p:sp>
      <p:sp>
        <p:nvSpPr>
          <p:cNvPr id="296" name="Rektangel 295">
            <a:extLst>
              <a:ext uri="{FF2B5EF4-FFF2-40B4-BE49-F238E27FC236}">
                <a16:creationId xmlns:a16="http://schemas.microsoft.com/office/drawing/2014/main" id="{DE67C8B1-9E9D-4919-86C5-792A8EE46AAB}"/>
              </a:ext>
            </a:extLst>
          </p:cNvPr>
          <p:cNvSpPr/>
          <p:nvPr/>
        </p:nvSpPr>
        <p:spPr>
          <a:xfrm>
            <a:off x="1239987" y="4638773"/>
            <a:ext cx="888851" cy="72008"/>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7" name="Afrundet rektangel 27">
            <a:extLst>
              <a:ext uri="{FF2B5EF4-FFF2-40B4-BE49-F238E27FC236}">
                <a16:creationId xmlns:a16="http://schemas.microsoft.com/office/drawing/2014/main" id="{0D5EB43B-81BB-4524-9F1D-C345107DB18B}"/>
              </a:ext>
            </a:extLst>
          </p:cNvPr>
          <p:cNvSpPr/>
          <p:nvPr/>
        </p:nvSpPr>
        <p:spPr>
          <a:xfrm>
            <a:off x="1249763" y="4848451"/>
            <a:ext cx="879075" cy="72572"/>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Tekstfelt 297">
            <a:extLst>
              <a:ext uri="{FF2B5EF4-FFF2-40B4-BE49-F238E27FC236}">
                <a16:creationId xmlns:a16="http://schemas.microsoft.com/office/drawing/2014/main" id="{4C039D34-D4DF-445E-977F-1F4372093347}"/>
              </a:ext>
            </a:extLst>
          </p:cNvPr>
          <p:cNvSpPr txBox="1"/>
          <p:nvPr/>
        </p:nvSpPr>
        <p:spPr>
          <a:xfrm>
            <a:off x="2174812" y="4787731"/>
            <a:ext cx="1619250" cy="207749"/>
          </a:xfrm>
          <a:prstGeom prst="rect">
            <a:avLst/>
          </a:prstGeom>
          <a:noFill/>
        </p:spPr>
        <p:txBody>
          <a:bodyPr wrap="square" rtlCol="0">
            <a:spAutoFit/>
          </a:bodyPr>
          <a:lstStyle/>
          <a:p>
            <a:r>
              <a:rPr lang="da-DK" sz="750" dirty="0"/>
              <a:t>Tidspunkt for afslutning uafklaret</a:t>
            </a:r>
          </a:p>
        </p:txBody>
      </p:sp>
      <p:sp>
        <p:nvSpPr>
          <p:cNvPr id="299" name="Tekstfelt 298">
            <a:extLst>
              <a:ext uri="{FF2B5EF4-FFF2-40B4-BE49-F238E27FC236}">
                <a16:creationId xmlns:a16="http://schemas.microsoft.com/office/drawing/2014/main" id="{C4E4285E-4F7C-4B2C-BD23-A239CC590B35}"/>
              </a:ext>
            </a:extLst>
          </p:cNvPr>
          <p:cNvSpPr txBox="1"/>
          <p:nvPr/>
        </p:nvSpPr>
        <p:spPr>
          <a:xfrm>
            <a:off x="6618062" y="4578120"/>
            <a:ext cx="1164882" cy="207749"/>
          </a:xfrm>
          <a:prstGeom prst="rect">
            <a:avLst/>
          </a:prstGeom>
          <a:noFill/>
        </p:spPr>
        <p:txBody>
          <a:bodyPr wrap="square" rtlCol="0">
            <a:spAutoFit/>
          </a:bodyPr>
          <a:lstStyle/>
          <a:p>
            <a:r>
              <a:rPr lang="da-DK" sz="750" dirty="0"/>
              <a:t>Leverance afsluttes</a:t>
            </a:r>
          </a:p>
        </p:txBody>
      </p:sp>
      <p:sp>
        <p:nvSpPr>
          <p:cNvPr id="300" name="Rombe 299">
            <a:extLst>
              <a:ext uri="{FF2B5EF4-FFF2-40B4-BE49-F238E27FC236}">
                <a16:creationId xmlns:a16="http://schemas.microsoft.com/office/drawing/2014/main" id="{42AE7C43-A6AD-4ACE-8E69-8AB47A309467}"/>
              </a:ext>
            </a:extLst>
          </p:cNvPr>
          <p:cNvSpPr/>
          <p:nvPr/>
        </p:nvSpPr>
        <p:spPr>
          <a:xfrm>
            <a:off x="6462958" y="4625284"/>
            <a:ext cx="125509" cy="121133"/>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1" name="Tekstfelt 300">
            <a:extLst>
              <a:ext uri="{FF2B5EF4-FFF2-40B4-BE49-F238E27FC236}">
                <a16:creationId xmlns:a16="http://schemas.microsoft.com/office/drawing/2014/main" id="{713E4D6B-373E-43AB-AAAF-34CA302B6228}"/>
              </a:ext>
            </a:extLst>
          </p:cNvPr>
          <p:cNvSpPr txBox="1"/>
          <p:nvPr/>
        </p:nvSpPr>
        <p:spPr>
          <a:xfrm>
            <a:off x="2182982" y="4574815"/>
            <a:ext cx="1164882" cy="207749"/>
          </a:xfrm>
          <a:prstGeom prst="rect">
            <a:avLst/>
          </a:prstGeom>
          <a:noFill/>
        </p:spPr>
        <p:txBody>
          <a:bodyPr wrap="square" rtlCol="0">
            <a:spAutoFit/>
          </a:bodyPr>
          <a:lstStyle/>
          <a:p>
            <a:r>
              <a:rPr lang="da-DK" sz="750" dirty="0"/>
              <a:t>Leverance udarbejdes</a:t>
            </a:r>
          </a:p>
        </p:txBody>
      </p:sp>
      <p:sp>
        <p:nvSpPr>
          <p:cNvPr id="302" name="Tekstfelt 301">
            <a:extLst>
              <a:ext uri="{FF2B5EF4-FFF2-40B4-BE49-F238E27FC236}">
                <a16:creationId xmlns:a16="http://schemas.microsoft.com/office/drawing/2014/main" id="{83E046F2-C265-40AA-B92F-011B65FE779E}"/>
              </a:ext>
            </a:extLst>
          </p:cNvPr>
          <p:cNvSpPr txBox="1"/>
          <p:nvPr/>
        </p:nvSpPr>
        <p:spPr>
          <a:xfrm>
            <a:off x="7962448" y="4569037"/>
            <a:ext cx="1619250" cy="207749"/>
          </a:xfrm>
          <a:prstGeom prst="rect">
            <a:avLst/>
          </a:prstGeom>
          <a:noFill/>
        </p:spPr>
        <p:txBody>
          <a:bodyPr wrap="square" rtlCol="0">
            <a:spAutoFit/>
          </a:bodyPr>
          <a:lstStyle/>
          <a:p>
            <a:r>
              <a:rPr lang="da-DK" sz="750" dirty="0"/>
              <a:t>Leverance afsluttet</a:t>
            </a:r>
          </a:p>
        </p:txBody>
      </p:sp>
      <p:sp>
        <p:nvSpPr>
          <p:cNvPr id="304" name="Rombe 303">
            <a:extLst>
              <a:ext uri="{FF2B5EF4-FFF2-40B4-BE49-F238E27FC236}">
                <a16:creationId xmlns:a16="http://schemas.microsoft.com/office/drawing/2014/main" id="{2398DE9B-5984-46FD-A3BB-376CB7491791}"/>
              </a:ext>
            </a:extLst>
          </p:cNvPr>
          <p:cNvSpPr/>
          <p:nvPr/>
        </p:nvSpPr>
        <p:spPr>
          <a:xfrm>
            <a:off x="7830867" y="4622317"/>
            <a:ext cx="125509" cy="121133"/>
          </a:xfrm>
          <a:prstGeom prst="diamond">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5" name="Rektangel 304">
            <a:extLst>
              <a:ext uri="{FF2B5EF4-FFF2-40B4-BE49-F238E27FC236}">
                <a16:creationId xmlns:a16="http://schemas.microsoft.com/office/drawing/2014/main" id="{778A0B13-39FA-4781-B25D-A351D3F66C51}"/>
              </a:ext>
            </a:extLst>
          </p:cNvPr>
          <p:cNvSpPr/>
          <p:nvPr/>
        </p:nvSpPr>
        <p:spPr>
          <a:xfrm>
            <a:off x="3943265" y="4637640"/>
            <a:ext cx="888851" cy="72008"/>
          </a:xfrm>
          <a:prstGeom prst="rect">
            <a:avLst/>
          </a:prstGeom>
          <a:solidFill>
            <a:srgbClr val="94CDD3"/>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6" name="Tekstfelt 305">
            <a:extLst>
              <a:ext uri="{FF2B5EF4-FFF2-40B4-BE49-F238E27FC236}">
                <a16:creationId xmlns:a16="http://schemas.microsoft.com/office/drawing/2014/main" id="{FB5131F2-2E19-49AA-80C5-55521F571C4E}"/>
              </a:ext>
            </a:extLst>
          </p:cNvPr>
          <p:cNvSpPr txBox="1"/>
          <p:nvPr/>
        </p:nvSpPr>
        <p:spPr>
          <a:xfrm>
            <a:off x="4872037" y="4569769"/>
            <a:ext cx="1619250" cy="207749"/>
          </a:xfrm>
          <a:prstGeom prst="rect">
            <a:avLst/>
          </a:prstGeom>
          <a:noFill/>
        </p:spPr>
        <p:txBody>
          <a:bodyPr wrap="square" rtlCol="0">
            <a:spAutoFit/>
          </a:bodyPr>
          <a:lstStyle/>
          <a:p>
            <a:r>
              <a:rPr lang="da-DK" sz="750" dirty="0"/>
              <a:t>Leverance igangsættes</a:t>
            </a:r>
          </a:p>
        </p:txBody>
      </p:sp>
      <p:sp>
        <p:nvSpPr>
          <p:cNvPr id="307" name="Afrundet rektangel 27">
            <a:extLst>
              <a:ext uri="{FF2B5EF4-FFF2-40B4-BE49-F238E27FC236}">
                <a16:creationId xmlns:a16="http://schemas.microsoft.com/office/drawing/2014/main" id="{2BD1DDCC-A687-4AD5-A6D9-129225A6BC9F}"/>
              </a:ext>
            </a:extLst>
          </p:cNvPr>
          <p:cNvSpPr/>
          <p:nvPr/>
        </p:nvSpPr>
        <p:spPr>
          <a:xfrm>
            <a:off x="3941492" y="4848451"/>
            <a:ext cx="879075" cy="72572"/>
          </a:xfrm>
          <a:prstGeom prst="roundRect">
            <a:avLst/>
          </a:prstGeom>
          <a:solidFill>
            <a:schemeClr val="bg1"/>
          </a:solidFill>
          <a:ln>
            <a:solidFill>
              <a:schemeClr val="accent3">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8" name="Tekstfelt 307">
            <a:extLst>
              <a:ext uri="{FF2B5EF4-FFF2-40B4-BE49-F238E27FC236}">
                <a16:creationId xmlns:a16="http://schemas.microsoft.com/office/drawing/2014/main" id="{3A5A0DA8-44C8-4F0C-8F32-7452E0EEE1AE}"/>
              </a:ext>
            </a:extLst>
          </p:cNvPr>
          <p:cNvSpPr txBox="1"/>
          <p:nvPr/>
        </p:nvSpPr>
        <p:spPr>
          <a:xfrm>
            <a:off x="4872037" y="4787731"/>
            <a:ext cx="1808448" cy="207750"/>
          </a:xfrm>
          <a:prstGeom prst="rect">
            <a:avLst/>
          </a:prstGeom>
          <a:noFill/>
        </p:spPr>
        <p:txBody>
          <a:bodyPr wrap="square" rtlCol="0">
            <a:spAutoFit/>
          </a:bodyPr>
          <a:lstStyle/>
          <a:p>
            <a:r>
              <a:rPr lang="da-DK" sz="750" dirty="0"/>
              <a:t>Leverance udgået af arbejdsprogram</a:t>
            </a:r>
          </a:p>
        </p:txBody>
      </p:sp>
    </p:spTree>
    <p:extLst>
      <p:ext uri="{BB962C8B-B14F-4D97-AF65-F5344CB8AC3E}">
        <p14:creationId xmlns:p14="http://schemas.microsoft.com/office/powerpoint/2010/main" val="21033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7.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12</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TAU’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og TAU et arbejdsprogram hver. Arbejdsprogrammerne revideres løbende i </a:t>
            </a:r>
            <a:r>
              <a:rPr lang="da-DK" dirty="0" err="1"/>
              <a:t>FDPs</a:t>
            </a:r>
            <a:r>
              <a:rPr lang="da-DK" dirty="0"/>
              <a:t>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E4DB0A39-5747-4234-9924-208022D6DACB}"/>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224085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7. septembe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13</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TAU’s</a:t>
            </a:r>
            <a:r>
              <a:rPr lang="da-DK" dirty="0"/>
              <a:t> arbejdsprogram</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dirty="0"/>
              <a:t>Vejledning,</a:t>
            </a:r>
            <a:r>
              <a:rPr lang="da-DK" sz="900" i="1" dirty="0"/>
              <a:t> fra myndighedsside, fx ift. gældende regler for fjernvarmeselskabers finansiering af data- og digitaliseringsaktiviteter</a:t>
            </a:r>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a:t>
            </a:r>
            <a:r>
              <a:rPr lang="da-DK" sz="900" b="1" i="1" dirty="0"/>
              <a:t>/redegørelser</a:t>
            </a:r>
            <a:r>
              <a:rPr lang="da-DK" sz="900" i="1" dirty="0"/>
              <a:t> kan fx pege på, at der er grundlag for at udarbejde en eller flere konkrete anbefalings-leverance.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pic>
        <p:nvPicPr>
          <p:cNvPr id="6" name="Billede 5" descr="https://sdfe.sdfewebh-spf01p.prod.sitad.dk/Nyhedsarkiv/PublishingImages/Faglig/Klimadatastyrelsen.jpg">
            <a:extLst>
              <a:ext uri="{FF2B5EF4-FFF2-40B4-BE49-F238E27FC236}">
                <a16:creationId xmlns:a16="http://schemas.microsoft.com/office/drawing/2014/main" id="{4253EB7E-ADD9-4EC9-A47F-2750A63729D0}"/>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35742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2</a:t>
            </a:fld>
            <a:endParaRPr lang="da-DK" dirty="0"/>
          </a:p>
        </p:txBody>
      </p:sp>
      <p:sp>
        <p:nvSpPr>
          <p:cNvPr id="4" name="Pladsholder til tekst 3"/>
          <p:cNvSpPr>
            <a:spLocks noGrp="1"/>
          </p:cNvSpPr>
          <p:nvPr>
            <p:ph type="body" sz="quarter" idx="21"/>
          </p:nvPr>
        </p:nvSpPr>
        <p:spPr>
          <a:xfrm>
            <a:off x="843913" y="386660"/>
            <a:ext cx="8100000" cy="626801"/>
          </a:xfrm>
        </p:spPr>
        <p:txBody>
          <a:bodyPr/>
          <a:lstStyle/>
          <a:p>
            <a:r>
              <a:rPr lang="da-DK" dirty="0" err="1"/>
              <a:t>TAU’s</a:t>
            </a:r>
            <a:r>
              <a:rPr lang="da-DK" dirty="0"/>
              <a:t> Forord til arbejdsprogram</a:t>
            </a:r>
          </a:p>
          <a:p>
            <a:r>
              <a:rPr lang="da-DK" sz="1500" dirty="0"/>
              <a:t>25. September 2024</a:t>
            </a:r>
          </a:p>
          <a:p>
            <a:endParaRPr lang="da-DK" dirty="0"/>
          </a:p>
        </p:txBody>
      </p:sp>
      <p:sp>
        <p:nvSpPr>
          <p:cNvPr id="5" name="Pladsholder til tekst 4"/>
          <p:cNvSpPr>
            <a:spLocks noGrp="1"/>
          </p:cNvSpPr>
          <p:nvPr>
            <p:ph type="body" sz="quarter" idx="14"/>
          </p:nvPr>
        </p:nvSpPr>
        <p:spPr>
          <a:xfrm>
            <a:off x="181129" y="937471"/>
            <a:ext cx="8460872" cy="3419999"/>
          </a:xfrm>
        </p:spPr>
        <p:txBody>
          <a:bodyPr/>
          <a:lstStyle/>
          <a:p>
            <a:r>
              <a:rPr lang="da-DK" sz="1200" dirty="0"/>
              <a:t>Hvis vi skal have en sammenhængende og grøn forsyningssektor, er det afgørende, at data kan deles og anvendes effektivt, både inden for de enkelte sektorer og på tværs af sektorgrænser. I TAU arbejder vi aktivt imod at skabe en forsyningssektor, hvor sammenhæng og samarbejde på tværs af alle sektorer er i fokus, hvilket er nødvendigt for at lykkes med den grønne omstilling. </a:t>
            </a:r>
            <a:r>
              <a:rPr lang="da-DK" sz="1200" dirty="0" err="1"/>
              <a:t>TAUs</a:t>
            </a:r>
            <a:r>
              <a:rPr lang="da-DK" sz="1200" dirty="0"/>
              <a:t> primære opgave er at sikre tværgående sammenhæng og ensartethed i FDP ved at understøtte en robust og integreret data- og datainfrastruktur på tværs af forsyningssektorerne. Derfor er </a:t>
            </a:r>
            <a:r>
              <a:rPr lang="da-DK" sz="1200" dirty="0" err="1"/>
              <a:t>TAUs</a:t>
            </a:r>
            <a:r>
              <a:rPr lang="da-DK" sz="1200" dirty="0"/>
              <a:t> indsats ikke kun afgørende for digitaliseringen af forsyningssektoren, men også for at sikre, at denne udvikling sker på en ensartet måde, der fremmer den tværgående sammenhæng i sektoren. I det indledende arbejde har TAU fokus på leverancer af grundlæggende karakter, der udspringer af FDP’s ”målsætninger og principper” og dermed understøtter det samlede arbejde i FDP. For at understøtte en konkret og hurtig værdiskabelse har TAU en </a:t>
            </a:r>
            <a:r>
              <a:rPr lang="da-DK" sz="1200" dirty="0" err="1"/>
              <a:t>use</a:t>
            </a:r>
            <a:r>
              <a:rPr lang="da-DK" sz="1200" dirty="0"/>
              <a:t> case-baseret tilgang. Der udarbejdes et </a:t>
            </a:r>
            <a:r>
              <a:rPr lang="da-DK" sz="1200" dirty="0" err="1"/>
              <a:t>use</a:t>
            </a:r>
            <a:r>
              <a:rPr lang="da-DK" sz="1200" dirty="0"/>
              <a:t> case-katalog med det formål at sikre afsæt i konkrete brugssituationer og rette fokus på konkrete løsninger og værdiskabelse. </a:t>
            </a:r>
          </a:p>
          <a:p>
            <a:r>
              <a:rPr lang="da-DK" sz="1200" dirty="0"/>
              <a:t>TAU har i regi af FDP ansvar for at skabe sammenhæng til den internationale/EU-dagsordenen og dermed at arbejdet i programmet - for såvel </a:t>
            </a:r>
            <a:r>
              <a:rPr lang="da-DK" sz="1200" dirty="0" err="1"/>
              <a:t>DUG’erne</a:t>
            </a:r>
            <a:r>
              <a:rPr lang="da-DK" sz="1200" dirty="0"/>
              <a:t> og TAU – skeler til de relevante internationale aktiviteter, herunder til eksisterende eller kommende EU-initiativer og retningslinjer samt den bredere EU-dagsorden.</a:t>
            </a:r>
          </a:p>
          <a:p>
            <a:r>
              <a:rPr lang="da-DK" sz="1200" dirty="0"/>
              <a:t>Såvel arbejdsprogrammet for TAU som </a:t>
            </a:r>
            <a:r>
              <a:rPr lang="da-DK" sz="1200" dirty="0" err="1"/>
              <a:t>use</a:t>
            </a:r>
            <a:r>
              <a:rPr lang="da-DK" sz="1200" dirty="0"/>
              <a:t> case-kataloget er dynamisk og tilpasses løbende som følge af samspillet med </a:t>
            </a:r>
            <a:r>
              <a:rPr lang="da-DK" sz="1200" dirty="0" err="1"/>
              <a:t>DUG’erne</a:t>
            </a:r>
            <a:r>
              <a:rPr lang="da-DK" sz="1200" dirty="0"/>
              <a:t> samt de opgaver, som FDP skal løse.</a:t>
            </a:r>
          </a:p>
          <a:p>
            <a:endParaRPr lang="da-DK" dirty="0"/>
          </a:p>
          <a:p>
            <a:endParaRPr lang="da-DK" i="1" dirty="0"/>
          </a:p>
        </p:txBody>
      </p:sp>
      <p:sp>
        <p:nvSpPr>
          <p:cNvPr id="7" name="Tekstfelt 6">
            <a:extLst>
              <a:ext uri="{FF2B5EF4-FFF2-40B4-BE49-F238E27FC236}">
                <a16:creationId xmlns:a16="http://schemas.microsoft.com/office/drawing/2014/main" id="{59F0C2FE-CF68-43A6-A2C6-796276CD4036}"/>
              </a:ext>
            </a:extLst>
          </p:cNvPr>
          <p:cNvSpPr txBox="1"/>
          <p:nvPr/>
        </p:nvSpPr>
        <p:spPr>
          <a:xfrm>
            <a:off x="181129" y="4594880"/>
            <a:ext cx="1044048" cy="469243"/>
          </a:xfrm>
          <a:prstGeom prst="rect">
            <a:avLst/>
          </a:prstGeom>
          <a:solidFill>
            <a:srgbClr val="FFFFFF"/>
          </a:solidFill>
        </p:spPr>
        <p:txBody>
          <a:bodyPr wrap="square" rtlCol="0">
            <a:spAutoFit/>
          </a:bodyPr>
          <a:lstStyle/>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66E1A721-C249-4652-8661-050A77F1E396}"/>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12743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3</a:t>
            </a:fld>
            <a:endParaRPr lang="da-DK" dirty="0"/>
          </a:p>
        </p:txBody>
      </p:sp>
      <p:sp>
        <p:nvSpPr>
          <p:cNvPr id="4" name="Pladsholder til tekst 3"/>
          <p:cNvSpPr>
            <a:spLocks noGrp="1"/>
          </p:cNvSpPr>
          <p:nvPr>
            <p:ph type="body" sz="quarter" idx="21"/>
          </p:nvPr>
        </p:nvSpPr>
        <p:spPr>
          <a:xfrm>
            <a:off x="827584" y="235041"/>
            <a:ext cx="8100000" cy="626801"/>
          </a:xfrm>
        </p:spPr>
        <p:txBody>
          <a:bodyPr/>
          <a:lstStyle/>
          <a:p>
            <a:r>
              <a:rPr lang="da-DK" dirty="0" err="1"/>
              <a:t>TAU’s</a:t>
            </a:r>
            <a:r>
              <a:rPr lang="da-DK" dirty="0"/>
              <a:t> Forord til arbejdsprogram </a:t>
            </a:r>
          </a:p>
        </p:txBody>
      </p:sp>
      <p:sp>
        <p:nvSpPr>
          <p:cNvPr id="5" name="Pladsholder til tekst 4"/>
          <p:cNvSpPr>
            <a:spLocks noGrp="1"/>
          </p:cNvSpPr>
          <p:nvPr>
            <p:ph type="body" sz="quarter" idx="14"/>
          </p:nvPr>
        </p:nvSpPr>
        <p:spPr>
          <a:xfrm>
            <a:off x="227391" y="953057"/>
            <a:ext cx="8460872" cy="3419999"/>
          </a:xfrm>
        </p:spPr>
        <p:txBody>
          <a:bodyPr/>
          <a:lstStyle/>
          <a:p>
            <a:r>
              <a:rPr lang="da-DK" sz="1200" dirty="0" err="1"/>
              <a:t>TAU's</a:t>
            </a:r>
            <a:r>
              <a:rPr lang="da-DK" sz="1200" dirty="0"/>
              <a:t> leverancer skal ses i tæt tilknytning til </a:t>
            </a:r>
            <a:r>
              <a:rPr lang="da-DK" sz="1200" dirty="0" err="1"/>
              <a:t>DUG'ernes</a:t>
            </a:r>
            <a:r>
              <a:rPr lang="da-DK" sz="1200" dirty="0"/>
              <a:t> arbejde. </a:t>
            </a:r>
            <a:r>
              <a:rPr lang="da-DK" sz="1200" dirty="0" err="1"/>
              <a:t>TAU's</a:t>
            </a:r>
            <a:r>
              <a:rPr lang="da-DK" sz="1200" dirty="0"/>
              <a:t> leverancer er derfor </a:t>
            </a:r>
            <a:r>
              <a:rPr lang="da-DK" sz="1200" dirty="0" err="1"/>
              <a:t>scopet</a:t>
            </a:r>
            <a:r>
              <a:rPr lang="da-DK" sz="1200" dirty="0"/>
              <a:t> ud fra El-DUG leverance 1, 3 og 4, Varme-DUG leverance 3 og 6, samt de tilsvarende i Vand-DUG. Disse kan opdeles i tre temaer: adgang til forbrugsdata, produktions- og udledningsdata, samt øvrige data som fx data om </a:t>
            </a:r>
            <a:r>
              <a:rPr lang="da-DK" sz="1200" dirty="0" err="1"/>
              <a:t>nettopologi</a:t>
            </a:r>
            <a:r>
              <a:rPr lang="da-DK" sz="1200" dirty="0"/>
              <a:t> og </a:t>
            </a:r>
            <a:r>
              <a:rPr lang="da-DK" sz="1200" dirty="0" err="1"/>
              <a:t>netkapacitet</a:t>
            </a:r>
            <a:endParaRPr lang="da-DK" sz="1200" dirty="0"/>
          </a:p>
          <a:p>
            <a:r>
              <a:rPr lang="da-DK" sz="1200" dirty="0" err="1"/>
              <a:t>TAU's</a:t>
            </a:r>
            <a:r>
              <a:rPr lang="da-DK" sz="1200" dirty="0"/>
              <a:t> leverancer tager afsæt i en GAP-FIT tilgang, hvor afstanden mellem den ønskede fremtidige tilstand og den nuværende praksis afdækkes. Derfor er afdækning af krav og behov, med udgangspunkt i status quo i forsyningssektoren, et centralt fokusområde. Arbejdet udføres i tæt samarbejde med </a:t>
            </a:r>
            <a:r>
              <a:rPr lang="da-DK" sz="1200" dirty="0" err="1"/>
              <a:t>DUG'erne</a:t>
            </a:r>
            <a:r>
              <a:rPr lang="da-DK" sz="1200" dirty="0"/>
              <a:t>, hvor TAU har særligt fokus på at identificere tværgående afhængigheder. </a:t>
            </a:r>
            <a:r>
              <a:rPr lang="da-DK" sz="1200" dirty="0" err="1"/>
              <a:t>TAU’s</a:t>
            </a:r>
            <a:r>
              <a:rPr lang="da-DK" sz="1200" dirty="0"/>
              <a:t> rolle er således at definere, hvad der er nødvendigt for at sikre datafrisættelse og deling af data på tværs af forsyningssektoren.</a:t>
            </a:r>
          </a:p>
          <a:p>
            <a:r>
              <a:rPr lang="da-DK" sz="1200" dirty="0"/>
              <a:t>Analyserne munder ud i forslag til GAP-FIT, som vil danne grundlag for udarbejdelse af retningslinjer og anbefalinger til implementering. De enkelte spor behandles sekventielt, og rækkefølgen aftales ved starten af en leverance og koordineres med </a:t>
            </a:r>
            <a:r>
              <a:rPr lang="da-DK" sz="1200" dirty="0" err="1"/>
              <a:t>DUG'ernes</a:t>
            </a:r>
            <a:r>
              <a:rPr lang="da-DK" sz="1200" dirty="0"/>
              <a:t> processer.</a:t>
            </a:r>
          </a:p>
          <a:p>
            <a:r>
              <a:rPr lang="da-DK" sz="1200" dirty="0"/>
              <a:t>Det er vigtigt, at TAU og </a:t>
            </a:r>
            <a:r>
              <a:rPr lang="da-DK" sz="1200" dirty="0" err="1"/>
              <a:t>DUG'erne</a:t>
            </a:r>
            <a:r>
              <a:rPr lang="da-DK" sz="1200" dirty="0"/>
              <a:t> har et fælles billede af leverancernes indhold og de indbyrdes afhængigheder, inden opgaveløsningen påbegyndes, så vi sikrer et godt og udbytterigt samarbejde mellem TAU og </a:t>
            </a:r>
            <a:r>
              <a:rPr lang="da-DK" sz="1200" dirty="0" err="1"/>
              <a:t>DUG'erne</a:t>
            </a:r>
            <a:r>
              <a:rPr lang="da-DK" sz="1200" dirty="0"/>
              <a:t> i praksis. Leverancebeskrivelserne vil desuden finpudses i arbejdssporene ved opstart, hvilket f.eks. kan medføre et behov for dialog på tværs mellem TAU og </a:t>
            </a:r>
            <a:r>
              <a:rPr lang="da-DK" sz="1200" dirty="0" err="1"/>
              <a:t>DUG'erne</a:t>
            </a:r>
            <a:r>
              <a:rPr lang="da-DK" sz="1200" dirty="0"/>
              <a:t>. </a:t>
            </a:r>
          </a:p>
          <a:p>
            <a:endParaRPr lang="da-DK" dirty="0"/>
          </a:p>
        </p:txBody>
      </p:sp>
      <p:sp>
        <p:nvSpPr>
          <p:cNvPr id="7" name="Tekstfelt 6">
            <a:extLst>
              <a:ext uri="{FF2B5EF4-FFF2-40B4-BE49-F238E27FC236}">
                <a16:creationId xmlns:a16="http://schemas.microsoft.com/office/drawing/2014/main" id="{59F0C2FE-CF68-43A6-A2C6-796276CD4036}"/>
              </a:ext>
            </a:extLst>
          </p:cNvPr>
          <p:cNvSpPr txBox="1"/>
          <p:nvPr/>
        </p:nvSpPr>
        <p:spPr>
          <a:xfrm>
            <a:off x="181129" y="4594880"/>
            <a:ext cx="1044048" cy="469243"/>
          </a:xfrm>
          <a:prstGeom prst="rect">
            <a:avLst/>
          </a:prstGeom>
          <a:solidFill>
            <a:srgbClr val="FFFFFF"/>
          </a:solidFill>
        </p:spPr>
        <p:txBody>
          <a:bodyPr wrap="square" rtlCol="0">
            <a:spAutoFit/>
          </a:bodyPr>
          <a:lstStyle/>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A6F712CE-6BC9-4A7F-BA14-82634EC2CE05}"/>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367133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pPr marL="0" marR="0" lvl="0" indent="0" algn="l" defTabSz="818693" rtl="0" eaLnBrk="1" fontAlgn="auto" latinLnBrk="0" hangingPunct="1">
              <a:lnSpc>
                <a:spcPct val="100000"/>
              </a:lnSpc>
              <a:spcBef>
                <a:spcPts val="0"/>
              </a:spcBef>
              <a:spcAft>
                <a:spcPts val="0"/>
              </a:spcAft>
              <a:buClrTx/>
              <a:buSzTx/>
              <a:buFontTx/>
              <a:buNone/>
              <a:tabLst/>
              <a:defRPr/>
            </a:pPr>
            <a:fld id="{D6C43E05-5416-43CC-9354-A0F970D8A001}" type="datetime2">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l" defTabSz="818693" rtl="0" eaLnBrk="1" fontAlgn="auto" latinLnBrk="0" hangingPunct="1">
                <a:lnSpc>
                  <a:spcPct val="100000"/>
                </a:lnSpc>
                <a:spcBef>
                  <a:spcPts val="0"/>
                </a:spcBef>
                <a:spcAft>
                  <a:spcPts val="0"/>
                </a:spcAft>
                <a:buClrTx/>
                <a:buSzTx/>
                <a:buFontTx/>
                <a:buNone/>
                <a:tabLst/>
                <a:defRPr/>
              </a:pPr>
              <a:t>17. september 2025</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 name="Pladsholder til slidenummer 2"/>
          <p:cNvSpPr>
            <a:spLocks noGrp="1"/>
          </p:cNvSpPr>
          <p:nvPr>
            <p:ph type="sldNum" sz="quarter" idx="17"/>
          </p:nvPr>
        </p:nvSpPr>
        <p:spPr/>
        <p:txBody>
          <a:bodyPr/>
          <a:lstStyle/>
          <a:p>
            <a:pPr marL="0" marR="0" lvl="0" indent="0" algn="r" defTabSz="818693"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ide </a:t>
            </a:r>
            <a:fld id="{8E044AEF-F590-47CE-BE8F-5C241A59BA2A}" type="slidenum">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r" defTabSz="818693" rtl="0" eaLnBrk="1" fontAlgn="auto" latinLnBrk="0" hangingPunct="1">
                <a:lnSpc>
                  <a:spcPct val="100000"/>
                </a:lnSpc>
                <a:spcBef>
                  <a:spcPts val="0"/>
                </a:spcBef>
                <a:spcAft>
                  <a:spcPts val="0"/>
                </a:spcAft>
                <a:buClrTx/>
                <a:buSzTx/>
                <a:buFontTx/>
                <a:buNone/>
                <a:tabLst/>
                <a:defRPr/>
              </a:pPr>
              <a:t>4</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 name="Tekstfelt 17"/>
          <p:cNvSpPr txBox="1"/>
          <p:nvPr/>
        </p:nvSpPr>
        <p:spPr>
          <a:xfrm>
            <a:off x="2977138" y="123478"/>
            <a:ext cx="111440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 name="Tekstfelt 21"/>
          <p:cNvSpPr txBox="1"/>
          <p:nvPr/>
        </p:nvSpPr>
        <p:spPr>
          <a:xfrm>
            <a:off x="1316526" y="124058"/>
            <a:ext cx="1459054"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ølger tidsplanen</a:t>
            </a:r>
          </a:p>
        </p:txBody>
      </p:sp>
      <p:graphicFrame>
        <p:nvGraphicFramePr>
          <p:cNvPr id="13" name="Tabel 12"/>
          <p:cNvGraphicFramePr>
            <a:graphicFrameLocks noGrp="1"/>
          </p:cNvGraphicFramePr>
          <p:nvPr>
            <p:extLst/>
          </p:nvPr>
        </p:nvGraphicFramePr>
        <p:xfrm>
          <a:off x="251520" y="542418"/>
          <a:ext cx="8496945" cy="3703320"/>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1597883597"/>
                    </a:ext>
                  </a:extLst>
                </a:gridCol>
                <a:gridCol w="793139">
                  <a:extLst>
                    <a:ext uri="{9D8B030D-6E8A-4147-A177-3AD203B41FA5}">
                      <a16:colId xmlns:a16="http://schemas.microsoft.com/office/drawing/2014/main" val="606829951"/>
                    </a:ext>
                  </a:extLst>
                </a:gridCol>
                <a:gridCol w="647021">
                  <a:extLst>
                    <a:ext uri="{9D8B030D-6E8A-4147-A177-3AD203B41FA5}">
                      <a16:colId xmlns:a16="http://schemas.microsoft.com/office/drawing/2014/main" val="87302883"/>
                    </a:ext>
                  </a:extLst>
                </a:gridCol>
                <a:gridCol w="576064">
                  <a:extLst>
                    <a:ext uri="{9D8B030D-6E8A-4147-A177-3AD203B41FA5}">
                      <a16:colId xmlns:a16="http://schemas.microsoft.com/office/drawing/2014/main" val="2738556525"/>
                    </a:ext>
                  </a:extLst>
                </a:gridCol>
                <a:gridCol w="864096">
                  <a:extLst>
                    <a:ext uri="{9D8B030D-6E8A-4147-A177-3AD203B41FA5}">
                      <a16:colId xmlns:a16="http://schemas.microsoft.com/office/drawing/2014/main" val="4087329800"/>
                    </a:ext>
                  </a:extLst>
                </a:gridCol>
                <a:gridCol w="1080120">
                  <a:extLst>
                    <a:ext uri="{9D8B030D-6E8A-4147-A177-3AD203B41FA5}">
                      <a16:colId xmlns:a16="http://schemas.microsoft.com/office/drawing/2014/main" val="1807219806"/>
                    </a:ext>
                  </a:extLst>
                </a:gridCol>
                <a:gridCol w="720080">
                  <a:extLst>
                    <a:ext uri="{9D8B030D-6E8A-4147-A177-3AD203B41FA5}">
                      <a16:colId xmlns:a16="http://schemas.microsoft.com/office/drawing/2014/main" val="77418318"/>
                    </a:ext>
                  </a:extLst>
                </a:gridCol>
                <a:gridCol w="2016225">
                  <a:extLst>
                    <a:ext uri="{9D8B030D-6E8A-4147-A177-3AD203B41FA5}">
                      <a16:colId xmlns:a16="http://schemas.microsoft.com/office/drawing/2014/main" val="624544613"/>
                    </a:ext>
                  </a:extLst>
                </a:gridCol>
              </a:tblGrid>
              <a:tr h="488248">
                <a:tc>
                  <a:txBody>
                    <a:bodyPr/>
                    <a:lstStyle/>
                    <a:p>
                      <a:r>
                        <a:rPr lang="da-DK" sz="900" dirty="0">
                          <a:solidFill>
                            <a:schemeClr val="bg1"/>
                          </a:solidFill>
                        </a:rPr>
                        <a:t>TAU-leverance</a:t>
                      </a:r>
                    </a:p>
                  </a:txBody>
                  <a:tcPr/>
                </a:tc>
                <a:tc>
                  <a:txBody>
                    <a:bodyPr/>
                    <a:lstStyle/>
                    <a:p>
                      <a:r>
                        <a:rPr lang="da-DK" sz="900">
                          <a:solidFill>
                            <a:schemeClr val="bg1"/>
                          </a:solidFill>
                        </a:rPr>
                        <a:t>Status</a:t>
                      </a:r>
                      <a:endParaRPr lang="da-DK" sz="900" b="0" dirty="0">
                        <a:solidFill>
                          <a:schemeClr val="bg1"/>
                        </a:solidFill>
                      </a:endParaRPr>
                    </a:p>
                  </a:txBody>
                  <a:tcPr/>
                </a:tc>
                <a:tc>
                  <a:txBody>
                    <a:bodyPr/>
                    <a:lstStyle/>
                    <a:p>
                      <a:r>
                        <a:rPr lang="da-DK" sz="900">
                          <a:solidFill>
                            <a:schemeClr val="bg1"/>
                          </a:solidFill>
                        </a:rPr>
                        <a:t>Påbegyndes</a:t>
                      </a:r>
                      <a:endParaRPr lang="da-DK" sz="900" dirty="0">
                        <a:solidFill>
                          <a:schemeClr val="bg1"/>
                        </a:solidFill>
                      </a:endParaRPr>
                    </a:p>
                  </a:txBody>
                  <a:tcPr/>
                </a:tc>
                <a:tc>
                  <a:txBody>
                    <a:bodyPr/>
                    <a:lstStyle/>
                    <a:p>
                      <a:r>
                        <a:rPr lang="da-DK" sz="900">
                          <a:solidFill>
                            <a:schemeClr val="bg1"/>
                          </a:solidFill>
                        </a:rPr>
                        <a:t>Afsluttes</a:t>
                      </a:r>
                      <a:endParaRPr lang="da-DK" sz="900" dirty="0">
                        <a:solidFill>
                          <a:schemeClr val="bg1"/>
                        </a:solidFill>
                      </a:endParaRPr>
                    </a:p>
                  </a:txBody>
                  <a:tcPr/>
                </a:tc>
                <a:tc>
                  <a:txBody>
                    <a:bodyPr/>
                    <a:lstStyle/>
                    <a:p>
                      <a:r>
                        <a:rPr lang="da-DK" sz="900">
                          <a:solidFill>
                            <a:schemeClr val="bg1"/>
                          </a:solidFill>
                        </a:rPr>
                        <a:t>Ansvarlig aktør (tovholder)</a:t>
                      </a:r>
                      <a:endParaRPr lang="da-DK" sz="900" dirty="0">
                        <a:solidFill>
                          <a:schemeClr val="bg1"/>
                        </a:solidFill>
                      </a:endParaRP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a:solidFill>
                            <a:schemeClr val="bg1"/>
                          </a:solidFill>
                        </a:rPr>
                        <a:t>Målsætning</a:t>
                      </a:r>
                      <a:endParaRPr lang="da-DK" sz="900" dirty="0">
                        <a:solidFill>
                          <a:schemeClr val="bg1"/>
                        </a:solidFill>
                      </a:endParaRPr>
                    </a:p>
                  </a:txBody>
                  <a:tcPr/>
                </a:tc>
                <a:tc>
                  <a:txBody>
                    <a:bodyPr/>
                    <a:lstStyle/>
                    <a:p>
                      <a:r>
                        <a:rPr lang="da-DK" sz="900">
                          <a:solidFill>
                            <a:schemeClr val="bg1"/>
                          </a:solidFill>
                        </a:rPr>
                        <a:t>Fremdrift</a:t>
                      </a:r>
                      <a:endParaRPr lang="da-DK" sz="900" dirty="0">
                        <a:solidFill>
                          <a:schemeClr val="bg1"/>
                        </a:solidFill>
                      </a:endParaRPr>
                    </a:p>
                  </a:txBody>
                  <a:tcPr/>
                </a:tc>
                <a:extLst>
                  <a:ext uri="{0D108BD9-81ED-4DB2-BD59-A6C34878D82A}">
                    <a16:rowId xmlns:a16="http://schemas.microsoft.com/office/drawing/2014/main" val="3646691106"/>
                  </a:ext>
                </a:extLst>
              </a:tr>
              <a:tr h="887723">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latin typeface="+mn-lt"/>
                        </a:rPr>
                        <a:t>1. </a:t>
                      </a:r>
                      <a:r>
                        <a:rPr lang="da-DK" sz="900" dirty="0">
                          <a:solidFill>
                            <a:schemeClr val="tx1"/>
                          </a:solidFill>
                          <a:latin typeface="+mn-lt"/>
                          <a:cs typeface="Calibri" panose="020F0502020204030204" pitchFamily="34" charset="0"/>
                        </a:rPr>
                        <a:t>Analyse af rammer for et dataøkosystem for forsyningsområdet</a:t>
                      </a:r>
                      <a:endParaRPr lang="da-DK" sz="900" b="1" dirty="0">
                        <a:solidFill>
                          <a:schemeClr val="tx1"/>
                        </a:solidFill>
                        <a:latin typeface="+mn-lt"/>
                        <a:cs typeface="Calibri" panose="020F0502020204030204" pitchFamily="34" charset="0"/>
                      </a:endParaRP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b="1" dirty="0">
                        <a:solidFill>
                          <a:schemeClr val="tx1"/>
                        </a:solidFill>
                        <a:latin typeface="+mn-lt"/>
                        <a:cs typeface="Calibri" panose="020F0502020204030204" pitchFamily="34" charset="0"/>
                      </a:endParaRP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FFD-møde </a:t>
                      </a:r>
                      <a:br>
                        <a:rPr lang="da-DK" sz="900" dirty="0">
                          <a:latin typeface="+mn-lt"/>
                          <a:cs typeface="Calibri" panose="020F0502020204030204" pitchFamily="34" charset="0"/>
                        </a:rPr>
                      </a:br>
                      <a:r>
                        <a:rPr lang="da-DK" sz="900" dirty="0">
                          <a:latin typeface="+mn-lt"/>
                          <a:cs typeface="Calibri" panose="020F0502020204030204" pitchFamily="34" charset="0"/>
                        </a:rPr>
                        <a:t>(12. marts 2025)</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Klima-datastyrelsen</a:t>
                      </a:r>
                    </a:p>
                    <a:p>
                      <a:endParaRPr lang="da-DK" sz="900" dirty="0">
                        <a:solidFill>
                          <a:schemeClr val="tx1"/>
                        </a:solidFill>
                      </a:endParaRPr>
                    </a:p>
                  </a:txBody>
                  <a:tcPr/>
                </a:tc>
                <a:tc>
                  <a:txBody>
                    <a:bodyPr/>
                    <a:lstStyle/>
                    <a:p>
                      <a:r>
                        <a:rPr lang="da-DK" sz="900" dirty="0">
                          <a:latin typeface="+mn-lt"/>
                          <a:cs typeface="Calibri" panose="020F0502020204030204" pitchFamily="34" charset="0"/>
                        </a:rPr>
                        <a:t>Arbejdsspor 1 vedr. dataøkosystem og sektorkobling. </a:t>
                      </a:r>
                    </a:p>
                  </a:txBody>
                  <a:tcPr/>
                </a:tc>
                <a:tc>
                  <a:txBody>
                    <a:bodyPr/>
                    <a:lstStyle/>
                    <a:p>
                      <a:r>
                        <a:rPr lang="da-DK" sz="900" dirty="0">
                          <a:solidFill>
                            <a:schemeClr val="tx1"/>
                          </a:solidFill>
                        </a:rPr>
                        <a:t>1</a:t>
                      </a: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t>Arbejdssporet har gennemført analysen. På baggrund af leverance 1 blev der igangsat to nye leverancer (1.1 og 13). </a:t>
                      </a:r>
                      <a:br>
                        <a:rPr lang="da-DK" sz="800" dirty="0"/>
                      </a:br>
                      <a:endParaRPr lang="da-DK" sz="800" dirty="0"/>
                    </a:p>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solidFill>
                            <a:schemeClr val="tx1"/>
                          </a:solidFill>
                        </a:rPr>
                        <a:t>Analysen er godkendt af TAU på  TAU-mødet d. 5. februar 2025 og skriftligt i FFD marts 2025. </a:t>
                      </a:r>
                    </a:p>
                  </a:txBody>
                  <a:tcPr/>
                </a:tc>
                <a:extLst>
                  <a:ext uri="{0D108BD9-81ED-4DB2-BD59-A6C34878D82A}">
                    <a16:rowId xmlns:a16="http://schemas.microsoft.com/office/drawing/2014/main" val="2614809727"/>
                  </a:ext>
                </a:extLst>
              </a:tr>
              <a:tr h="887723">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0" dirty="0">
                          <a:solidFill>
                            <a:schemeClr val="tx1"/>
                          </a:solidFill>
                          <a:latin typeface="+mn-lt"/>
                          <a:cs typeface="Calibri" panose="020F0502020204030204" pitchFamily="34" charset="0"/>
                        </a:rPr>
                        <a:t>1.1 Analyse af datamæssige og tekniske forudsætninger for realisering af centrale udfordringer for forsyningsområdet</a:t>
                      </a: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2 2025</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1 2026</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Klima-datastyrelsen</a:t>
                      </a:r>
                    </a:p>
                    <a:p>
                      <a:endParaRPr lang="da-DK" sz="900" dirty="0">
                        <a:solidFill>
                          <a:schemeClr val="tx1"/>
                        </a:solidFill>
                      </a:endParaRPr>
                    </a:p>
                  </a:txBody>
                  <a:tcPr/>
                </a:tc>
                <a:tc>
                  <a:txBody>
                    <a:bodyPr/>
                    <a:lstStyle/>
                    <a:p>
                      <a:pPr marL="0" marR="0" lvl="0" indent="0" algn="l" defTabSz="109156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Arbejdsspor 1 vedr. dataøkosystem og sektorkobling. </a:t>
                      </a:r>
                    </a:p>
                  </a:txBody>
                  <a:tcPr/>
                </a:tc>
                <a:tc>
                  <a:txBody>
                    <a:bodyPr/>
                    <a:lstStyle/>
                    <a:p>
                      <a:r>
                        <a:rPr lang="da-DK" sz="900" dirty="0">
                          <a:solidFill>
                            <a:schemeClr val="tx1"/>
                          </a:solidFill>
                        </a:rPr>
                        <a:t>1</a:t>
                      </a: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t>Der er indgået aftale med FORCE Technology om at udføre analysen. Analysen skal belyse specifikke behov og udfordringer på tværs af forsyningssektoren og de krav, som det stiller til data gennem </a:t>
                      </a:r>
                      <a:r>
                        <a:rPr lang="da-DK" sz="800" dirty="0" err="1"/>
                        <a:t>use</a:t>
                      </a:r>
                      <a:r>
                        <a:rPr lang="da-DK" sz="800" dirty="0"/>
                        <a:t> cases, og beskrive potentialet for yderligere tiltag, og hvilke gevinster og omkostninger der er forbundet hermed.</a:t>
                      </a:r>
                    </a:p>
                  </a:txBody>
                  <a:tcPr/>
                </a:tc>
                <a:extLst>
                  <a:ext uri="{0D108BD9-81ED-4DB2-BD59-A6C34878D82A}">
                    <a16:rowId xmlns:a16="http://schemas.microsoft.com/office/drawing/2014/main" val="1164482757"/>
                  </a:ext>
                </a:extLst>
              </a:tr>
              <a:tr h="725548">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rPr>
                        <a:t>2. </a:t>
                      </a:r>
                      <a:r>
                        <a:rPr lang="da-DK" sz="900" baseline="0" dirty="0">
                          <a:solidFill>
                            <a:schemeClr val="tx1"/>
                          </a:solidFill>
                          <a:latin typeface="+mn-lt"/>
                          <a:cs typeface="Calibri" panose="020F0502020204030204" pitchFamily="34" charset="0"/>
                        </a:rPr>
                        <a:t>Fælles retningslinjer for begreber og deres relationer</a:t>
                      </a:r>
                      <a:endParaRPr lang="da-DK" sz="900" dirty="0">
                        <a:solidFill>
                          <a:schemeClr val="tx1"/>
                        </a:solidFill>
                        <a:latin typeface="+mn-lt"/>
                        <a:cs typeface="Calibri" panose="020F0502020204030204" pitchFamily="34" charset="0"/>
                      </a:endParaRP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FFD-møde</a:t>
                      </a:r>
                      <a:br>
                        <a:rPr lang="da-DK" sz="900" dirty="0">
                          <a:latin typeface="+mn-lt"/>
                          <a:cs typeface="Calibri" panose="020F0502020204030204" pitchFamily="34" charset="0"/>
                        </a:rPr>
                      </a:br>
                      <a:r>
                        <a:rPr lang="da-DK" sz="900" dirty="0">
                          <a:latin typeface="+mn-lt"/>
                          <a:cs typeface="Calibri" panose="020F0502020204030204" pitchFamily="34" charset="0"/>
                        </a:rPr>
                        <a:t>(25. maj 2025)</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Klima-datastyrelsen</a:t>
                      </a:r>
                    </a:p>
                    <a:p>
                      <a:endParaRPr lang="da-DK" sz="900" dirty="0">
                        <a:solidFill>
                          <a:schemeClr val="tx1"/>
                        </a:solidFill>
                      </a:endParaRPr>
                    </a:p>
                  </a:txBody>
                  <a:tcPr/>
                </a:tc>
                <a:tc>
                  <a:txBody>
                    <a:bodyPr/>
                    <a:lstStyle/>
                    <a:p>
                      <a:r>
                        <a:rPr lang="da-DK" sz="900" dirty="0">
                          <a:solidFill>
                            <a:schemeClr val="tx1"/>
                          </a:solidFill>
                          <a:latin typeface="+mn-lt"/>
                          <a:cs typeface="Calibri" panose="020F0502020204030204" pitchFamily="34" charset="0"/>
                        </a:rPr>
                        <a:t>Arbejdsspor 2 vedr. </a:t>
                      </a:r>
                      <a:r>
                        <a:rPr lang="da-DK" sz="900" dirty="0" err="1">
                          <a:solidFill>
                            <a:schemeClr val="tx1"/>
                          </a:solidFill>
                          <a:latin typeface="+mn-lt"/>
                          <a:cs typeface="Calibri" panose="020F0502020204030204" pitchFamily="34" charset="0"/>
                        </a:rPr>
                        <a:t>interoperabilitet</a:t>
                      </a:r>
                      <a:endParaRPr lang="da-DK" sz="900" dirty="0">
                        <a:solidFill>
                          <a:schemeClr val="tx1"/>
                        </a:solidFill>
                        <a:latin typeface="+mn-lt"/>
                        <a:cs typeface="Calibri" panose="020F0502020204030204" pitchFamily="34" charset="0"/>
                      </a:endParaRPr>
                    </a:p>
                  </a:txBody>
                  <a:tcPr/>
                </a:tc>
                <a:tc>
                  <a:txBody>
                    <a:bodyPr/>
                    <a:lstStyle/>
                    <a:p>
                      <a:r>
                        <a:rPr lang="da-DK" sz="900" dirty="0">
                          <a:solidFill>
                            <a:schemeClr val="tx1"/>
                          </a:solidFill>
                        </a:rPr>
                        <a:t>2</a:t>
                      </a: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solidFill>
                            <a:schemeClr val="tx1"/>
                          </a:solidFill>
                        </a:rPr>
                        <a:t>Arbejdssporet har udarbejdet en overordnet begrebsmodel for centrale forretningsmæssige</a:t>
                      </a:r>
                      <a:r>
                        <a:rPr lang="da-DK" sz="800" strike="sngStrike" dirty="0">
                          <a:solidFill>
                            <a:schemeClr val="tx1"/>
                          </a:solidFill>
                        </a:rPr>
                        <a:t>-</a:t>
                      </a:r>
                      <a:r>
                        <a:rPr lang="da-DK" sz="800" dirty="0">
                          <a:solidFill>
                            <a:schemeClr val="tx1"/>
                          </a:solidFill>
                        </a:rPr>
                        <a:t> og centrale begreber med afsæt i </a:t>
                      </a:r>
                      <a:r>
                        <a:rPr lang="da-DK" sz="800" dirty="0" err="1">
                          <a:solidFill>
                            <a:schemeClr val="tx1"/>
                          </a:solidFill>
                        </a:rPr>
                        <a:t>use</a:t>
                      </a:r>
                      <a:r>
                        <a:rPr lang="da-DK" sz="800" dirty="0">
                          <a:solidFill>
                            <a:schemeClr val="tx1"/>
                          </a:solidFill>
                        </a:rPr>
                        <a:t> casen ”forsyningsoverblik.dk</a:t>
                      </a:r>
                      <a:br>
                        <a:rPr lang="da-DK" sz="800" dirty="0">
                          <a:solidFill>
                            <a:schemeClr val="tx1"/>
                          </a:solidFill>
                        </a:rPr>
                      </a:br>
                      <a:endParaRPr lang="da-DK" sz="800" dirty="0">
                        <a:solidFill>
                          <a:schemeClr val="tx1"/>
                        </a:solidFill>
                      </a:endParaRPr>
                    </a:p>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solidFill>
                            <a:schemeClr val="tx1"/>
                          </a:solidFill>
                        </a:rPr>
                        <a:t>Leverancen er godkendt af TAU den 23 april 2025 og FFD den 28 maj 2025.</a:t>
                      </a:r>
                    </a:p>
                  </a:txBody>
                  <a:tcPr/>
                </a:tc>
                <a:extLst>
                  <a:ext uri="{0D108BD9-81ED-4DB2-BD59-A6C34878D82A}">
                    <a16:rowId xmlns:a16="http://schemas.microsoft.com/office/drawing/2014/main" val="1663565517"/>
                  </a:ext>
                </a:extLst>
              </a:tr>
            </a:tbl>
          </a:graphicData>
        </a:graphic>
      </p:graphicFrame>
      <p:pic>
        <p:nvPicPr>
          <p:cNvPr id="4" name="Billede 3">
            <a:extLst>
              <a:ext uri="{FF2B5EF4-FFF2-40B4-BE49-F238E27FC236}">
                <a16:creationId xmlns:a16="http://schemas.microsoft.com/office/drawing/2014/main" id="{49154938-AE50-4DD5-851D-36512A1A0E20}"/>
              </a:ext>
            </a:extLst>
          </p:cNvPr>
          <p:cNvPicPr>
            <a:picLocks noChangeAspect="1"/>
          </p:cNvPicPr>
          <p:nvPr/>
        </p:nvPicPr>
        <p:blipFill>
          <a:blip r:embed="rId2"/>
          <a:stretch>
            <a:fillRect/>
          </a:stretch>
        </p:blipFill>
        <p:spPr>
          <a:xfrm>
            <a:off x="151739" y="4546249"/>
            <a:ext cx="4129019" cy="542418"/>
          </a:xfrm>
          <a:prstGeom prst="rect">
            <a:avLst/>
          </a:prstGeom>
        </p:spPr>
      </p:pic>
      <p:pic>
        <p:nvPicPr>
          <p:cNvPr id="24" name="Grafik 23" descr="Afkrydsning">
            <a:extLst>
              <a:ext uri="{FF2B5EF4-FFF2-40B4-BE49-F238E27FC236}">
                <a16:creationId xmlns:a16="http://schemas.microsoft.com/office/drawing/2014/main" id="{273DFAAE-364D-4CC3-9333-0FE3366D9EB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16248" y="1215941"/>
            <a:ext cx="508001" cy="508001"/>
          </a:xfrm>
          <a:prstGeom prst="rect">
            <a:avLst/>
          </a:prstGeom>
        </p:spPr>
      </p:pic>
      <p:pic>
        <p:nvPicPr>
          <p:cNvPr id="25" name="Grafik 24" descr="Afkrydsning">
            <a:extLst>
              <a:ext uri="{FF2B5EF4-FFF2-40B4-BE49-F238E27FC236}">
                <a16:creationId xmlns:a16="http://schemas.microsoft.com/office/drawing/2014/main" id="{0DA6AB80-EB0B-4C87-8471-B6172473AFE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16247" y="3291830"/>
            <a:ext cx="508001" cy="508001"/>
          </a:xfrm>
          <a:prstGeom prst="rect">
            <a:avLst/>
          </a:prstGeom>
        </p:spPr>
      </p:pic>
    </p:spTree>
    <p:extLst>
      <p:ext uri="{BB962C8B-B14F-4D97-AF65-F5344CB8AC3E}">
        <p14:creationId xmlns:p14="http://schemas.microsoft.com/office/powerpoint/2010/main" val="403545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pPr marL="0" marR="0" lvl="0" indent="0" algn="l" defTabSz="818693" rtl="0" eaLnBrk="1" fontAlgn="auto" latinLnBrk="0" hangingPunct="1">
              <a:lnSpc>
                <a:spcPct val="100000"/>
              </a:lnSpc>
              <a:spcBef>
                <a:spcPts val="0"/>
              </a:spcBef>
              <a:spcAft>
                <a:spcPts val="0"/>
              </a:spcAft>
              <a:buClrTx/>
              <a:buSzTx/>
              <a:buFontTx/>
              <a:buNone/>
              <a:tabLst/>
              <a:defRPr/>
            </a:pPr>
            <a:fld id="{D6C43E05-5416-43CC-9354-A0F970D8A001}" type="datetime2">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l" defTabSz="818693" rtl="0" eaLnBrk="1" fontAlgn="auto" latinLnBrk="0" hangingPunct="1">
                <a:lnSpc>
                  <a:spcPct val="100000"/>
                </a:lnSpc>
                <a:spcBef>
                  <a:spcPts val="0"/>
                </a:spcBef>
                <a:spcAft>
                  <a:spcPts val="0"/>
                </a:spcAft>
                <a:buClrTx/>
                <a:buSzTx/>
                <a:buFontTx/>
                <a:buNone/>
                <a:tabLst/>
                <a:defRPr/>
              </a:pPr>
              <a:t>17. september 2025</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 name="Pladsholder til slidenummer 2"/>
          <p:cNvSpPr>
            <a:spLocks noGrp="1"/>
          </p:cNvSpPr>
          <p:nvPr>
            <p:ph type="sldNum" sz="quarter" idx="17"/>
          </p:nvPr>
        </p:nvSpPr>
        <p:spPr/>
        <p:txBody>
          <a:bodyPr/>
          <a:lstStyle/>
          <a:p>
            <a:pPr marL="0" marR="0" lvl="0" indent="0" algn="r" defTabSz="818693"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ide </a:t>
            </a:r>
            <a:fld id="{8E044AEF-F590-47CE-BE8F-5C241A59BA2A}" type="slidenum">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r" defTabSz="818693" rtl="0" eaLnBrk="1" fontAlgn="auto" latinLnBrk="0" hangingPunct="1">
                <a:lnSpc>
                  <a:spcPct val="100000"/>
                </a:lnSpc>
                <a:spcBef>
                  <a:spcPts val="0"/>
                </a:spcBef>
                <a:spcAft>
                  <a:spcPts val="0"/>
                </a:spcAft>
                <a:buClrTx/>
                <a:buSzTx/>
                <a:buFontTx/>
                <a:buNone/>
                <a:tabLst/>
                <a:defRPr/>
              </a:pPr>
              <a:t>5</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 name="Tekstfelt 17"/>
          <p:cNvSpPr txBox="1"/>
          <p:nvPr/>
        </p:nvSpPr>
        <p:spPr>
          <a:xfrm>
            <a:off x="2977138" y="123478"/>
            <a:ext cx="111440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 name="Tekstfelt 21"/>
          <p:cNvSpPr txBox="1"/>
          <p:nvPr/>
        </p:nvSpPr>
        <p:spPr>
          <a:xfrm>
            <a:off x="1316526" y="124058"/>
            <a:ext cx="1459054"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ølger tidsplanen</a:t>
            </a:r>
          </a:p>
        </p:txBody>
      </p:sp>
      <p:graphicFrame>
        <p:nvGraphicFramePr>
          <p:cNvPr id="13" name="Tabel 12"/>
          <p:cNvGraphicFramePr>
            <a:graphicFrameLocks noGrp="1"/>
          </p:cNvGraphicFramePr>
          <p:nvPr>
            <p:extLst>
              <p:ext uri="{D42A27DB-BD31-4B8C-83A1-F6EECF244321}">
                <p14:modId xmlns:p14="http://schemas.microsoft.com/office/powerpoint/2010/main" val="210022462"/>
              </p:ext>
            </p:extLst>
          </p:nvPr>
        </p:nvGraphicFramePr>
        <p:xfrm>
          <a:off x="181129" y="447442"/>
          <a:ext cx="8711351" cy="4566574"/>
        </p:xfrm>
        <a:graphic>
          <a:graphicData uri="http://schemas.openxmlformats.org/drawingml/2006/table">
            <a:tbl>
              <a:tblPr firstRow="1" bandRow="1">
                <a:tableStyleId>{5C22544A-7EE6-4342-B048-85BDC9FD1C3A}</a:tableStyleId>
              </a:tblPr>
              <a:tblGrid>
                <a:gridCol w="1845625">
                  <a:extLst>
                    <a:ext uri="{9D8B030D-6E8A-4147-A177-3AD203B41FA5}">
                      <a16:colId xmlns:a16="http://schemas.microsoft.com/office/drawing/2014/main" val="1597883597"/>
                    </a:ext>
                  </a:extLst>
                </a:gridCol>
                <a:gridCol w="813153">
                  <a:extLst>
                    <a:ext uri="{9D8B030D-6E8A-4147-A177-3AD203B41FA5}">
                      <a16:colId xmlns:a16="http://schemas.microsoft.com/office/drawing/2014/main" val="606829951"/>
                    </a:ext>
                  </a:extLst>
                </a:gridCol>
                <a:gridCol w="797606">
                  <a:extLst>
                    <a:ext uri="{9D8B030D-6E8A-4147-A177-3AD203B41FA5}">
                      <a16:colId xmlns:a16="http://schemas.microsoft.com/office/drawing/2014/main" val="87302883"/>
                    </a:ext>
                  </a:extLst>
                </a:gridCol>
                <a:gridCol w="576064">
                  <a:extLst>
                    <a:ext uri="{9D8B030D-6E8A-4147-A177-3AD203B41FA5}">
                      <a16:colId xmlns:a16="http://schemas.microsoft.com/office/drawing/2014/main" val="2738556525"/>
                    </a:ext>
                  </a:extLst>
                </a:gridCol>
                <a:gridCol w="766177">
                  <a:extLst>
                    <a:ext uri="{9D8B030D-6E8A-4147-A177-3AD203B41FA5}">
                      <a16:colId xmlns:a16="http://schemas.microsoft.com/office/drawing/2014/main" val="4087329800"/>
                    </a:ext>
                  </a:extLst>
                </a:gridCol>
                <a:gridCol w="1107375">
                  <a:extLst>
                    <a:ext uri="{9D8B030D-6E8A-4147-A177-3AD203B41FA5}">
                      <a16:colId xmlns:a16="http://schemas.microsoft.com/office/drawing/2014/main" val="1807219806"/>
                    </a:ext>
                  </a:extLst>
                </a:gridCol>
                <a:gridCol w="738250">
                  <a:extLst>
                    <a:ext uri="{9D8B030D-6E8A-4147-A177-3AD203B41FA5}">
                      <a16:colId xmlns:a16="http://schemas.microsoft.com/office/drawing/2014/main" val="77418318"/>
                    </a:ext>
                  </a:extLst>
                </a:gridCol>
                <a:gridCol w="2067101">
                  <a:extLst>
                    <a:ext uri="{9D8B030D-6E8A-4147-A177-3AD203B41FA5}">
                      <a16:colId xmlns:a16="http://schemas.microsoft.com/office/drawing/2014/main" val="624544613"/>
                    </a:ext>
                  </a:extLst>
                </a:gridCol>
              </a:tblGrid>
              <a:tr h="500362">
                <a:tc>
                  <a:txBody>
                    <a:bodyPr/>
                    <a:lstStyle/>
                    <a:p>
                      <a:r>
                        <a:rPr lang="da-DK" sz="900" dirty="0">
                          <a:solidFill>
                            <a:schemeClr val="bg1"/>
                          </a:solidFill>
                        </a:rPr>
                        <a:t>TAU-leverance</a:t>
                      </a:r>
                    </a:p>
                  </a:txBody>
                  <a:tcPr/>
                </a:tc>
                <a:tc>
                  <a:txBody>
                    <a:bodyPr/>
                    <a:lstStyle/>
                    <a:p>
                      <a:r>
                        <a:rPr lang="da-DK" sz="900">
                          <a:solidFill>
                            <a:schemeClr val="bg1"/>
                          </a:solidFill>
                        </a:rPr>
                        <a:t>Status</a:t>
                      </a:r>
                      <a:endParaRPr lang="da-DK" sz="900" b="0" dirty="0">
                        <a:solidFill>
                          <a:schemeClr val="bg1"/>
                        </a:solidFill>
                      </a:endParaRPr>
                    </a:p>
                  </a:txBody>
                  <a:tcPr/>
                </a:tc>
                <a:tc>
                  <a:txBody>
                    <a:bodyPr/>
                    <a:lstStyle/>
                    <a:p>
                      <a:r>
                        <a:rPr lang="da-DK" sz="900">
                          <a:solidFill>
                            <a:schemeClr val="bg1"/>
                          </a:solidFill>
                        </a:rPr>
                        <a:t>Påbegyndes</a:t>
                      </a:r>
                      <a:endParaRPr lang="da-DK" sz="900" dirty="0">
                        <a:solidFill>
                          <a:schemeClr val="bg1"/>
                        </a:solidFill>
                      </a:endParaRPr>
                    </a:p>
                  </a:txBody>
                  <a:tcPr/>
                </a:tc>
                <a:tc>
                  <a:txBody>
                    <a:bodyPr/>
                    <a:lstStyle/>
                    <a:p>
                      <a:r>
                        <a:rPr lang="da-DK" sz="900">
                          <a:solidFill>
                            <a:schemeClr val="bg1"/>
                          </a:solidFill>
                        </a:rPr>
                        <a:t>Afsluttes</a:t>
                      </a:r>
                      <a:endParaRPr lang="da-DK" sz="900" dirty="0">
                        <a:solidFill>
                          <a:schemeClr val="bg1"/>
                        </a:solidFill>
                      </a:endParaRPr>
                    </a:p>
                  </a:txBody>
                  <a:tcPr/>
                </a:tc>
                <a:tc>
                  <a:txBody>
                    <a:bodyPr/>
                    <a:lstStyle/>
                    <a:p>
                      <a:r>
                        <a:rPr lang="da-DK" sz="900">
                          <a:solidFill>
                            <a:schemeClr val="bg1"/>
                          </a:solidFill>
                        </a:rPr>
                        <a:t>Ansvarlig aktør (tovholder)</a:t>
                      </a:r>
                      <a:endParaRPr lang="da-DK" sz="900" dirty="0">
                        <a:solidFill>
                          <a:schemeClr val="bg1"/>
                        </a:solidFill>
                      </a:endParaRP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a:solidFill>
                            <a:schemeClr val="bg1"/>
                          </a:solidFill>
                        </a:rPr>
                        <a:t>Målsætning</a:t>
                      </a:r>
                      <a:endParaRPr lang="da-DK" sz="900" dirty="0">
                        <a:solidFill>
                          <a:schemeClr val="bg1"/>
                        </a:solidFill>
                      </a:endParaRPr>
                    </a:p>
                  </a:txBody>
                  <a:tcPr/>
                </a:tc>
                <a:tc>
                  <a:txBody>
                    <a:bodyPr/>
                    <a:lstStyle/>
                    <a:p>
                      <a:r>
                        <a:rPr lang="da-DK" sz="900">
                          <a:solidFill>
                            <a:schemeClr val="bg1"/>
                          </a:solidFill>
                        </a:rPr>
                        <a:t>Fremdrift</a:t>
                      </a:r>
                      <a:endParaRPr lang="da-DK" sz="900" dirty="0">
                        <a:solidFill>
                          <a:schemeClr val="bg1"/>
                        </a:solidFill>
                      </a:endParaRPr>
                    </a:p>
                  </a:txBody>
                  <a:tcPr/>
                </a:tc>
                <a:extLst>
                  <a:ext uri="{0D108BD9-81ED-4DB2-BD59-A6C34878D82A}">
                    <a16:rowId xmlns:a16="http://schemas.microsoft.com/office/drawing/2014/main" val="3646691106"/>
                  </a:ext>
                </a:extLst>
              </a:tr>
              <a:tr h="1046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3. </a:t>
                      </a:r>
                      <a:r>
                        <a:rPr lang="da-DK" sz="900" dirty="0">
                          <a:latin typeface="+mn-lt"/>
                          <a:cs typeface="Calibri" panose="020F0502020204030204" pitchFamily="34" charset="0"/>
                        </a:rPr>
                        <a:t>Fælles retningslinjer for dataformater og metadata for forbrugs- og produktionsdata</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b="1" dirty="0">
                        <a:solidFill>
                          <a:schemeClr val="tx1"/>
                        </a:solidFill>
                        <a:latin typeface="+mn-lt"/>
                        <a:cs typeface="Calibri" panose="020F0502020204030204" pitchFamily="34" charset="0"/>
                      </a:endParaRP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r>
                        <a:rPr lang="da-DK" sz="900" dirty="0">
                          <a:latin typeface="+mn-lt"/>
                          <a:cs typeface="Calibri" panose="020F0502020204030204" pitchFamily="34" charset="0"/>
                        </a:rPr>
                        <a:t>FFD-møde </a:t>
                      </a:r>
                      <a:br>
                        <a:rPr lang="da-DK" sz="900" dirty="0">
                          <a:latin typeface="+mn-lt"/>
                          <a:cs typeface="Calibri" panose="020F0502020204030204" pitchFamily="34" charset="0"/>
                        </a:rPr>
                      </a:br>
                      <a:r>
                        <a:rPr lang="da-DK" sz="900" dirty="0">
                          <a:latin typeface="+mn-lt"/>
                          <a:cs typeface="Calibri" panose="020F0502020204030204" pitchFamily="34" charset="0"/>
                        </a:rPr>
                        <a:t>(25. september 2025)</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Klima-datastyrelsen</a:t>
                      </a:r>
                    </a:p>
                    <a:p>
                      <a:endParaRPr lang="da-DK" sz="900" dirty="0">
                        <a:solidFill>
                          <a:schemeClr val="tx1"/>
                        </a:solidFill>
                      </a:endParaRPr>
                    </a:p>
                  </a:txBody>
                  <a:tcPr/>
                </a:tc>
                <a:tc>
                  <a:txBody>
                    <a:bodyPr/>
                    <a:lstStyle/>
                    <a:p>
                      <a:r>
                        <a:rPr lang="da-DK" sz="900" dirty="0">
                          <a:solidFill>
                            <a:schemeClr val="tx1"/>
                          </a:solidFill>
                          <a:latin typeface="+mn-lt"/>
                          <a:cs typeface="Calibri" panose="020F0502020204030204" pitchFamily="34" charset="0"/>
                        </a:rPr>
                        <a:t>Arbejdsspor 2 vedr. </a:t>
                      </a:r>
                      <a:r>
                        <a:rPr lang="da-DK" sz="900" dirty="0" err="1">
                          <a:solidFill>
                            <a:schemeClr val="tx1"/>
                          </a:solidFill>
                          <a:latin typeface="+mn-lt"/>
                          <a:cs typeface="Calibri" panose="020F0502020204030204" pitchFamily="34" charset="0"/>
                        </a:rPr>
                        <a:t>interoperabilitet</a:t>
                      </a:r>
                      <a:endParaRPr lang="da-DK" sz="900" dirty="0">
                        <a:solidFill>
                          <a:schemeClr val="tx1"/>
                        </a:solidFill>
                        <a:latin typeface="+mn-lt"/>
                        <a:cs typeface="Calibri" panose="020F0502020204030204" pitchFamily="34" charset="0"/>
                      </a:endParaRPr>
                    </a:p>
                  </a:txBody>
                  <a:tcPr/>
                </a:tc>
                <a:tc>
                  <a:txBody>
                    <a:bodyPr/>
                    <a:lstStyle/>
                    <a:p>
                      <a:r>
                        <a:rPr lang="da-DK" sz="900" dirty="0">
                          <a:solidFill>
                            <a:schemeClr val="tx1"/>
                          </a:solidFill>
                        </a:rPr>
                        <a:t>2</a:t>
                      </a:r>
                    </a:p>
                  </a:txBody>
                  <a:tcPr/>
                </a:tc>
                <a:tc>
                  <a:txBody>
                    <a:bodyPr/>
                    <a:lstStyle/>
                    <a:p>
                      <a:pPr marL="0" indent="0">
                        <a:buFont typeface="Arial" panose="020B0604020202020204" pitchFamily="34" charset="0"/>
                        <a:buNone/>
                      </a:pPr>
                      <a:r>
                        <a:rPr lang="da-DK" sz="800" dirty="0"/>
                        <a:t>Retningslinjerne for dataformater og metadata udgør TAU leverance 3 ”Fælles retningslinjer for dataformater og metadata” samt leverance 4 ”Fælles retningslinjer for datakvalitet og validering”. </a:t>
                      </a:r>
                    </a:p>
                    <a:p>
                      <a:pPr marL="0" indent="0">
                        <a:buFont typeface="Arial" panose="020B0604020202020204" pitchFamily="34" charset="0"/>
                        <a:buNone/>
                      </a:pPr>
                      <a:endParaRPr lang="da-DK" sz="800" dirty="0"/>
                    </a:p>
                    <a:p>
                      <a:pPr marL="0" indent="0">
                        <a:buFont typeface="Arial" panose="020B0604020202020204" pitchFamily="34" charset="0"/>
                        <a:buNone/>
                      </a:pPr>
                      <a:r>
                        <a:rPr lang="da-DK" sz="800" dirty="0"/>
                        <a:t>Der er udarbejdet retningslinjer for forsyningssektorens valg af dataformater ved deling af forbrugsdata med anvendere. Leverancen er drøftet i </a:t>
                      </a:r>
                      <a:r>
                        <a:rPr lang="da-DK" sz="800" dirty="0" err="1"/>
                        <a:t>DUG’erne</a:t>
                      </a:r>
                      <a:r>
                        <a:rPr lang="da-DK" sz="800" dirty="0"/>
                        <a:t> og indstillet til godkendelse af FFD på mødet den 25. september 2025</a:t>
                      </a:r>
                      <a:r>
                        <a:rPr lang="da-DK" sz="800" dirty="0">
                          <a:solidFill>
                            <a:schemeClr val="tx1"/>
                          </a:solidFill>
                        </a:rPr>
                        <a:t>. </a:t>
                      </a:r>
                    </a:p>
                  </a:txBody>
                  <a:tcPr/>
                </a:tc>
                <a:extLst>
                  <a:ext uri="{0D108BD9-81ED-4DB2-BD59-A6C34878D82A}">
                    <a16:rowId xmlns:a16="http://schemas.microsoft.com/office/drawing/2014/main" val="2614809727"/>
                  </a:ext>
                </a:extLst>
              </a:tr>
              <a:tr h="118267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4. </a:t>
                      </a:r>
                      <a:r>
                        <a:rPr lang="da-DK" sz="900" dirty="0">
                          <a:latin typeface="+mn-lt"/>
                          <a:cs typeface="Calibri" panose="020F0502020204030204" pitchFamily="34" charset="0"/>
                        </a:rPr>
                        <a:t>Fælles retningslinjer vedr. datakvalitet og validering for forbrugs- og produktionsdata</a:t>
                      </a: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r>
                        <a:rPr lang="da-DK" sz="900" dirty="0">
                          <a:latin typeface="+mn-lt"/>
                          <a:cs typeface="Calibri" panose="020F0502020204030204" pitchFamily="34" charset="0"/>
                        </a:rPr>
                        <a:t>FFD-møde </a:t>
                      </a:r>
                      <a:br>
                        <a:rPr lang="da-DK" sz="900" dirty="0">
                          <a:latin typeface="+mn-lt"/>
                          <a:cs typeface="Calibri" panose="020F0502020204030204" pitchFamily="34" charset="0"/>
                        </a:rPr>
                      </a:br>
                      <a:r>
                        <a:rPr lang="da-DK" sz="900" dirty="0">
                          <a:latin typeface="+mn-lt"/>
                          <a:cs typeface="Calibri" panose="020F0502020204030204" pitchFamily="34" charset="0"/>
                        </a:rPr>
                        <a:t>(25. september 2025)</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Klima-datastyrelsen</a:t>
                      </a:r>
                    </a:p>
                    <a:p>
                      <a:endParaRPr lang="da-DK" sz="900" dirty="0">
                        <a:solidFill>
                          <a:schemeClr val="tx1"/>
                        </a:solidFill>
                      </a:endParaRPr>
                    </a:p>
                  </a:txBody>
                  <a:tcPr/>
                </a:tc>
                <a:tc>
                  <a:txBody>
                    <a:bodyPr/>
                    <a:lstStyle/>
                    <a:p>
                      <a:r>
                        <a:rPr lang="da-DK" sz="900" dirty="0">
                          <a:solidFill>
                            <a:schemeClr val="tx1"/>
                          </a:solidFill>
                          <a:latin typeface="+mn-lt"/>
                          <a:cs typeface="Calibri" panose="020F0502020204030204" pitchFamily="34" charset="0"/>
                        </a:rPr>
                        <a:t>Arbejdsspor 2 vedr. </a:t>
                      </a:r>
                      <a:r>
                        <a:rPr lang="da-DK" sz="900" dirty="0" err="1">
                          <a:solidFill>
                            <a:schemeClr val="tx1"/>
                          </a:solidFill>
                          <a:latin typeface="+mn-lt"/>
                          <a:cs typeface="Calibri" panose="020F0502020204030204" pitchFamily="34" charset="0"/>
                        </a:rPr>
                        <a:t>interoperabilitet</a:t>
                      </a:r>
                      <a:endParaRPr lang="da-DK" sz="900" dirty="0">
                        <a:solidFill>
                          <a:schemeClr val="tx1"/>
                        </a:solidFill>
                        <a:latin typeface="+mn-lt"/>
                        <a:cs typeface="Calibri" panose="020F0502020204030204" pitchFamily="34" charset="0"/>
                      </a:endParaRPr>
                    </a:p>
                  </a:txBody>
                  <a:tcPr/>
                </a:tc>
                <a:tc>
                  <a:txBody>
                    <a:bodyPr/>
                    <a:lstStyle/>
                    <a:p>
                      <a:r>
                        <a:rPr lang="da-DK" sz="900" dirty="0">
                          <a:solidFill>
                            <a:schemeClr val="tx1"/>
                          </a:solidFill>
                        </a:rPr>
                        <a:t>2</a:t>
                      </a:r>
                    </a:p>
                  </a:txBody>
                  <a:tcPr/>
                </a:tc>
                <a:tc>
                  <a:txBody>
                    <a:bodyPr/>
                    <a:lstStyle/>
                    <a:p>
                      <a:pPr marL="0" indent="0">
                        <a:buFont typeface="Arial" panose="020B0604020202020204" pitchFamily="34" charset="0"/>
                        <a:buNone/>
                      </a:pPr>
                      <a:r>
                        <a:rPr lang="da-DK" sz="800" dirty="0"/>
                        <a:t>Der er udarbejdet retningslinjer for, hvordan udstillede data ledsages af metadata, inkl. principper for angivelse af datakvalitet over for anvendere.</a:t>
                      </a:r>
                    </a:p>
                    <a:p>
                      <a:pPr marL="0" indent="0">
                        <a:buFont typeface="Arial" panose="020B0604020202020204" pitchFamily="34" charset="0"/>
                        <a:buNone/>
                      </a:pPr>
                      <a:br>
                        <a:rPr lang="da-DK" sz="800" dirty="0"/>
                      </a:br>
                      <a:r>
                        <a:rPr lang="da-DK" sz="800" dirty="0"/>
                        <a:t>Leverancen samt forslag til videre arbejde med implementering er drøftet i </a:t>
                      </a:r>
                      <a:r>
                        <a:rPr lang="da-DK" sz="800" dirty="0" err="1"/>
                        <a:t>DUG’erne</a:t>
                      </a:r>
                      <a:r>
                        <a:rPr lang="da-DK" sz="800" dirty="0"/>
                        <a:t> og indstillet til godkendelse af FFD på mødet den 25. september 2025.</a:t>
                      </a:r>
                    </a:p>
                  </a:txBody>
                  <a:tcPr/>
                </a:tc>
                <a:extLst>
                  <a:ext uri="{0D108BD9-81ED-4DB2-BD59-A6C34878D82A}">
                    <a16:rowId xmlns:a16="http://schemas.microsoft.com/office/drawing/2014/main" val="1164482757"/>
                  </a:ext>
                </a:extLst>
              </a:tr>
              <a:tr h="1061374">
                <a:tc>
                  <a:txBody>
                    <a:bodyPr/>
                    <a:lstStyle/>
                    <a:p>
                      <a:pPr>
                        <a:spcBef>
                          <a:spcPct val="0"/>
                        </a:spcBef>
                        <a:spcAft>
                          <a:spcPct val="0"/>
                        </a:spcAft>
                      </a:pPr>
                      <a:r>
                        <a:rPr lang="da-DK" sz="900" kern="1200" dirty="0">
                          <a:solidFill>
                            <a:schemeClr val="dk1"/>
                          </a:solidFill>
                          <a:latin typeface="+mn-lt"/>
                          <a:ea typeface="+mn-ea"/>
                          <a:cs typeface="+mn-cs"/>
                        </a:rPr>
                        <a:t>5. </a:t>
                      </a:r>
                      <a:r>
                        <a:rPr lang="da-DK" altLang="en-US" sz="900" dirty="0">
                          <a:latin typeface="+mn-lt"/>
                          <a:cs typeface="Calibri" panose="020F0502020204030204" pitchFamily="34" charset="0"/>
                        </a:rPr>
                        <a:t>Fælles retningslinjer for adgang- og </a:t>
                      </a:r>
                    </a:p>
                    <a:p>
                      <a:pPr>
                        <a:spcBef>
                          <a:spcPct val="0"/>
                        </a:spcBef>
                        <a:spcAft>
                          <a:spcPct val="0"/>
                        </a:spcAft>
                      </a:pPr>
                      <a:r>
                        <a:rPr lang="da-DK" altLang="en-US" sz="900" dirty="0">
                          <a:latin typeface="+mn-lt"/>
                          <a:cs typeface="Calibri" panose="020F0502020204030204" pitchFamily="34" charset="0"/>
                        </a:rPr>
                        <a:t>udveksling af forsyningsdata</a:t>
                      </a:r>
                      <a:r>
                        <a:rPr lang="da-DK" altLang="en-US" sz="900" kern="1200" dirty="0">
                          <a:solidFill>
                            <a:schemeClr val="dk1"/>
                          </a:solidFill>
                          <a:latin typeface="+mn-lt"/>
                          <a:ea typeface="+mn-ea"/>
                          <a:cs typeface="+mn-cs"/>
                        </a:rPr>
                        <a:t>.</a:t>
                      </a:r>
                      <a:endParaRPr lang="da-DK" sz="900" dirty="0">
                        <a:latin typeface="+mn-lt"/>
                      </a:endParaRPr>
                    </a:p>
                  </a:txBody>
                  <a:tcPr/>
                </a:tc>
                <a:tc>
                  <a:txBody>
                    <a:bodyPr/>
                    <a:lstStyle/>
                    <a:p>
                      <a:endParaRPr lang="da-DK" sz="900" dirty="0">
                        <a:solidFill>
                          <a:schemeClr val="tx1"/>
                        </a:solidFill>
                      </a:endParaRPr>
                    </a:p>
                  </a:txBody>
                  <a:tcPr>
                    <a:solidFill>
                      <a:schemeClr val="bg1">
                        <a:lumMod val="7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2 2025</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r>
                        <a:rPr lang="da-DK" sz="900" dirty="0">
                          <a:latin typeface="+mn-lt"/>
                          <a:cs typeface="Calibri" panose="020F0502020204030204" pitchFamily="34" charset="0"/>
                        </a:rPr>
                        <a:t>Q4 2025</a:t>
                      </a:r>
                      <a:br>
                        <a:rPr lang="da-DK" sz="900" dirty="0">
                          <a:latin typeface="+mn-lt"/>
                          <a:cs typeface="Calibri" panose="020F0502020204030204" pitchFamily="34" charset="0"/>
                        </a:rPr>
                      </a:br>
                      <a:r>
                        <a:rPr lang="da-DK" sz="900" dirty="0">
                          <a:latin typeface="+mn-lt"/>
                          <a:cs typeface="Calibri" panose="020F0502020204030204" pitchFamily="34" charset="0"/>
                        </a:rPr>
                        <a:t>(</a:t>
                      </a:r>
                      <a:r>
                        <a:rPr lang="da-DK" sz="900" dirty="0">
                          <a:solidFill>
                            <a:schemeClr val="tx1"/>
                          </a:solidFill>
                          <a:latin typeface="+mn-lt"/>
                          <a:cs typeface="Calibri" panose="020F0502020204030204" pitchFamily="34" charset="0"/>
                        </a:rPr>
                        <a:t>3.december 2025)</a:t>
                      </a:r>
                      <a:br>
                        <a:rPr lang="da-DK" sz="900" dirty="0">
                          <a:latin typeface="+mn-lt"/>
                          <a:cs typeface="Calibri" panose="020F0502020204030204" pitchFamily="34" charset="0"/>
                        </a:rPr>
                      </a:br>
                      <a:endParaRPr lang="da-DK" sz="900" dirty="0">
                        <a:latin typeface="+mn-lt"/>
                        <a:cs typeface="Calibri" panose="020F0502020204030204" pitchFamily="34" charset="0"/>
                      </a:endParaRP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Klima-datastyrelsen</a:t>
                      </a:r>
                    </a:p>
                    <a:p>
                      <a:endParaRPr lang="da-DK" sz="900" dirty="0">
                        <a:solidFill>
                          <a:schemeClr val="tx1"/>
                        </a:solidFill>
                      </a:endParaRPr>
                    </a:p>
                  </a:txBody>
                  <a:tcPr/>
                </a:tc>
                <a:tc>
                  <a:txBody>
                    <a:bodyPr/>
                    <a:lstStyle/>
                    <a:p>
                      <a:r>
                        <a:rPr lang="da-DK" sz="900" dirty="0">
                          <a:solidFill>
                            <a:schemeClr val="tx1"/>
                          </a:solidFill>
                          <a:latin typeface="+mn-lt"/>
                          <a:cs typeface="Calibri" panose="020F0502020204030204" pitchFamily="34" charset="0"/>
                        </a:rPr>
                        <a:t>Arbejdsspor 1 vedr. dataøkosystem og sektorkobling</a:t>
                      </a:r>
                    </a:p>
                  </a:txBody>
                  <a:tcPr/>
                </a:tc>
                <a:tc>
                  <a:txBody>
                    <a:bodyPr/>
                    <a:lstStyle/>
                    <a:p>
                      <a:r>
                        <a:rPr lang="da-DK" sz="900" dirty="0">
                          <a:solidFill>
                            <a:schemeClr val="tx1"/>
                          </a:solidFill>
                        </a:rPr>
                        <a:t>1</a:t>
                      </a: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dirty="0">
                          <a:solidFill>
                            <a:schemeClr val="tx1"/>
                          </a:solidFill>
                          <a:latin typeface="+mn-lt"/>
                          <a:ea typeface="+mn-ea"/>
                          <a:cs typeface="+mn-cs"/>
                        </a:rPr>
                        <a:t>Leverancen afventer opstart grundet  afklaring om nærmere sammenhæng til øvrige leverancer i </a:t>
                      </a:r>
                      <a:r>
                        <a:rPr lang="da-DK" sz="800" kern="1200" dirty="0" err="1">
                          <a:solidFill>
                            <a:schemeClr val="tx1"/>
                          </a:solidFill>
                          <a:latin typeface="+mn-lt"/>
                          <a:ea typeface="+mn-ea"/>
                          <a:cs typeface="+mn-cs"/>
                        </a:rPr>
                        <a:t>DUG’erne</a:t>
                      </a:r>
                      <a:r>
                        <a:rPr lang="da-DK" sz="800" kern="1200" dirty="0">
                          <a:solidFill>
                            <a:schemeClr val="tx1"/>
                          </a:solidFill>
                          <a:latin typeface="+mn-lt"/>
                          <a:ea typeface="+mn-ea"/>
                          <a:cs typeface="+mn-cs"/>
                        </a:rPr>
                        <a:t>, herunder ensartet deling af data gennem </a:t>
                      </a:r>
                      <a:r>
                        <a:rPr lang="da-DK" sz="800" kern="1200" dirty="0" err="1">
                          <a:solidFill>
                            <a:schemeClr val="tx1"/>
                          </a:solidFill>
                          <a:latin typeface="+mn-lt"/>
                          <a:ea typeface="+mn-ea"/>
                          <a:cs typeface="+mn-cs"/>
                        </a:rPr>
                        <a:t>API’er</a:t>
                      </a:r>
                      <a:r>
                        <a:rPr lang="da-DK" sz="800" kern="1200">
                          <a:solidFill>
                            <a:schemeClr val="tx1"/>
                          </a:solidFill>
                          <a:latin typeface="+mn-lt"/>
                          <a:ea typeface="+mn-ea"/>
                          <a:cs typeface="+mn-cs"/>
                        </a:rPr>
                        <a:t>.</a:t>
                      </a:r>
                      <a:endParaRPr lang="da-DK" sz="800" kern="1200" dirty="0">
                        <a:solidFill>
                          <a:schemeClr val="tx1"/>
                        </a:solidFill>
                        <a:latin typeface="+mn-lt"/>
                        <a:ea typeface="+mn-ea"/>
                        <a:cs typeface="+mn-cs"/>
                      </a:endParaRPr>
                    </a:p>
                  </a:txBody>
                  <a:tcPr/>
                </a:tc>
                <a:extLst>
                  <a:ext uri="{0D108BD9-81ED-4DB2-BD59-A6C34878D82A}">
                    <a16:rowId xmlns:a16="http://schemas.microsoft.com/office/drawing/2014/main" val="1663565517"/>
                  </a:ext>
                </a:extLst>
              </a:tr>
            </a:tbl>
          </a:graphicData>
        </a:graphic>
      </p:graphicFrame>
    </p:spTree>
    <p:extLst>
      <p:ext uri="{BB962C8B-B14F-4D97-AF65-F5344CB8AC3E}">
        <p14:creationId xmlns:p14="http://schemas.microsoft.com/office/powerpoint/2010/main" val="428830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pPr marL="0" marR="0" lvl="0" indent="0" algn="l" defTabSz="818693" rtl="0" eaLnBrk="1" fontAlgn="auto" latinLnBrk="0" hangingPunct="1">
              <a:lnSpc>
                <a:spcPct val="100000"/>
              </a:lnSpc>
              <a:spcBef>
                <a:spcPts val="0"/>
              </a:spcBef>
              <a:spcAft>
                <a:spcPts val="0"/>
              </a:spcAft>
              <a:buClrTx/>
              <a:buSzTx/>
              <a:buFontTx/>
              <a:buNone/>
              <a:tabLst/>
              <a:defRPr/>
            </a:pPr>
            <a:fld id="{D6C43E05-5416-43CC-9354-A0F970D8A001}" type="datetime2">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l" defTabSz="818693" rtl="0" eaLnBrk="1" fontAlgn="auto" latinLnBrk="0" hangingPunct="1">
                <a:lnSpc>
                  <a:spcPct val="100000"/>
                </a:lnSpc>
                <a:spcBef>
                  <a:spcPts val="0"/>
                </a:spcBef>
                <a:spcAft>
                  <a:spcPts val="0"/>
                </a:spcAft>
                <a:buClrTx/>
                <a:buSzTx/>
                <a:buFontTx/>
                <a:buNone/>
                <a:tabLst/>
                <a:defRPr/>
              </a:pPr>
              <a:t>17. september 2025</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 name="Pladsholder til slidenummer 2"/>
          <p:cNvSpPr>
            <a:spLocks noGrp="1"/>
          </p:cNvSpPr>
          <p:nvPr>
            <p:ph type="sldNum" sz="quarter" idx="17"/>
          </p:nvPr>
        </p:nvSpPr>
        <p:spPr/>
        <p:txBody>
          <a:bodyPr/>
          <a:lstStyle/>
          <a:p>
            <a:pPr marL="0" marR="0" lvl="0" indent="0" algn="r" defTabSz="818693"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ide </a:t>
            </a:r>
            <a:fld id="{8E044AEF-F590-47CE-BE8F-5C241A59BA2A}" type="slidenum">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r" defTabSz="818693" rtl="0" eaLnBrk="1" fontAlgn="auto" latinLnBrk="0" hangingPunct="1">
                <a:lnSpc>
                  <a:spcPct val="100000"/>
                </a:lnSpc>
                <a:spcBef>
                  <a:spcPts val="0"/>
                </a:spcBef>
                <a:spcAft>
                  <a:spcPts val="0"/>
                </a:spcAft>
                <a:buClrTx/>
                <a:buSzTx/>
                <a:buFontTx/>
                <a:buNone/>
                <a:tabLst/>
                <a:defRPr/>
              </a:pPr>
              <a:t>6</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 name="Tekstfelt 17"/>
          <p:cNvSpPr txBox="1"/>
          <p:nvPr/>
        </p:nvSpPr>
        <p:spPr>
          <a:xfrm>
            <a:off x="2977138" y="123478"/>
            <a:ext cx="111440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 name="Tekstfelt 21"/>
          <p:cNvSpPr txBox="1"/>
          <p:nvPr/>
        </p:nvSpPr>
        <p:spPr>
          <a:xfrm>
            <a:off x="1316526" y="124058"/>
            <a:ext cx="1459054"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ølger tidsplanen</a:t>
            </a:r>
          </a:p>
        </p:txBody>
      </p:sp>
      <p:graphicFrame>
        <p:nvGraphicFramePr>
          <p:cNvPr id="13" name="Tabel 12"/>
          <p:cNvGraphicFramePr>
            <a:graphicFrameLocks noGrp="1"/>
          </p:cNvGraphicFramePr>
          <p:nvPr>
            <p:extLst/>
          </p:nvPr>
        </p:nvGraphicFramePr>
        <p:xfrm>
          <a:off x="323527" y="516154"/>
          <a:ext cx="8496945" cy="4556760"/>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1597883597"/>
                    </a:ext>
                  </a:extLst>
                </a:gridCol>
                <a:gridCol w="793139">
                  <a:extLst>
                    <a:ext uri="{9D8B030D-6E8A-4147-A177-3AD203B41FA5}">
                      <a16:colId xmlns:a16="http://schemas.microsoft.com/office/drawing/2014/main" val="606829951"/>
                    </a:ext>
                  </a:extLst>
                </a:gridCol>
                <a:gridCol w="647021">
                  <a:extLst>
                    <a:ext uri="{9D8B030D-6E8A-4147-A177-3AD203B41FA5}">
                      <a16:colId xmlns:a16="http://schemas.microsoft.com/office/drawing/2014/main" val="87302883"/>
                    </a:ext>
                  </a:extLst>
                </a:gridCol>
                <a:gridCol w="576064">
                  <a:extLst>
                    <a:ext uri="{9D8B030D-6E8A-4147-A177-3AD203B41FA5}">
                      <a16:colId xmlns:a16="http://schemas.microsoft.com/office/drawing/2014/main" val="2738556525"/>
                    </a:ext>
                  </a:extLst>
                </a:gridCol>
                <a:gridCol w="864096">
                  <a:extLst>
                    <a:ext uri="{9D8B030D-6E8A-4147-A177-3AD203B41FA5}">
                      <a16:colId xmlns:a16="http://schemas.microsoft.com/office/drawing/2014/main" val="4087329800"/>
                    </a:ext>
                  </a:extLst>
                </a:gridCol>
                <a:gridCol w="1080120">
                  <a:extLst>
                    <a:ext uri="{9D8B030D-6E8A-4147-A177-3AD203B41FA5}">
                      <a16:colId xmlns:a16="http://schemas.microsoft.com/office/drawing/2014/main" val="1807219806"/>
                    </a:ext>
                  </a:extLst>
                </a:gridCol>
                <a:gridCol w="720080">
                  <a:extLst>
                    <a:ext uri="{9D8B030D-6E8A-4147-A177-3AD203B41FA5}">
                      <a16:colId xmlns:a16="http://schemas.microsoft.com/office/drawing/2014/main" val="77418318"/>
                    </a:ext>
                  </a:extLst>
                </a:gridCol>
                <a:gridCol w="2016225">
                  <a:extLst>
                    <a:ext uri="{9D8B030D-6E8A-4147-A177-3AD203B41FA5}">
                      <a16:colId xmlns:a16="http://schemas.microsoft.com/office/drawing/2014/main" val="624544613"/>
                    </a:ext>
                  </a:extLst>
                </a:gridCol>
              </a:tblGrid>
              <a:tr h="488248">
                <a:tc>
                  <a:txBody>
                    <a:bodyPr/>
                    <a:lstStyle/>
                    <a:p>
                      <a:r>
                        <a:rPr lang="da-DK" sz="900" dirty="0">
                          <a:solidFill>
                            <a:schemeClr val="bg1"/>
                          </a:solidFill>
                        </a:rPr>
                        <a:t>TAU-leverance</a:t>
                      </a:r>
                    </a:p>
                  </a:txBody>
                  <a:tcPr/>
                </a:tc>
                <a:tc>
                  <a:txBody>
                    <a:bodyPr/>
                    <a:lstStyle/>
                    <a:p>
                      <a:r>
                        <a:rPr lang="da-DK" sz="900">
                          <a:solidFill>
                            <a:schemeClr val="bg1"/>
                          </a:solidFill>
                        </a:rPr>
                        <a:t>Status</a:t>
                      </a:r>
                      <a:endParaRPr lang="da-DK" sz="900" b="0" dirty="0">
                        <a:solidFill>
                          <a:schemeClr val="bg1"/>
                        </a:solidFill>
                      </a:endParaRPr>
                    </a:p>
                  </a:txBody>
                  <a:tcPr/>
                </a:tc>
                <a:tc>
                  <a:txBody>
                    <a:bodyPr/>
                    <a:lstStyle/>
                    <a:p>
                      <a:r>
                        <a:rPr lang="da-DK" sz="900">
                          <a:solidFill>
                            <a:schemeClr val="bg1"/>
                          </a:solidFill>
                        </a:rPr>
                        <a:t>Påbegyndes</a:t>
                      </a:r>
                      <a:endParaRPr lang="da-DK" sz="900" dirty="0">
                        <a:solidFill>
                          <a:schemeClr val="bg1"/>
                        </a:solidFill>
                      </a:endParaRPr>
                    </a:p>
                  </a:txBody>
                  <a:tcPr/>
                </a:tc>
                <a:tc>
                  <a:txBody>
                    <a:bodyPr/>
                    <a:lstStyle/>
                    <a:p>
                      <a:r>
                        <a:rPr lang="da-DK" sz="900">
                          <a:solidFill>
                            <a:schemeClr val="bg1"/>
                          </a:solidFill>
                        </a:rPr>
                        <a:t>Afsluttes</a:t>
                      </a:r>
                      <a:endParaRPr lang="da-DK" sz="900" dirty="0">
                        <a:solidFill>
                          <a:schemeClr val="bg1"/>
                        </a:solidFill>
                      </a:endParaRPr>
                    </a:p>
                  </a:txBody>
                  <a:tcPr/>
                </a:tc>
                <a:tc>
                  <a:txBody>
                    <a:bodyPr/>
                    <a:lstStyle/>
                    <a:p>
                      <a:r>
                        <a:rPr lang="da-DK" sz="900">
                          <a:solidFill>
                            <a:schemeClr val="bg1"/>
                          </a:solidFill>
                        </a:rPr>
                        <a:t>Ansvarlig aktør (tovholder)</a:t>
                      </a:r>
                      <a:endParaRPr lang="da-DK" sz="900" dirty="0">
                        <a:solidFill>
                          <a:schemeClr val="bg1"/>
                        </a:solidFill>
                      </a:endParaRP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a:solidFill>
                            <a:schemeClr val="bg1"/>
                          </a:solidFill>
                        </a:rPr>
                        <a:t>Målsætning</a:t>
                      </a:r>
                      <a:endParaRPr lang="da-DK" sz="900" dirty="0">
                        <a:solidFill>
                          <a:schemeClr val="bg1"/>
                        </a:solidFill>
                      </a:endParaRPr>
                    </a:p>
                  </a:txBody>
                  <a:tcPr/>
                </a:tc>
                <a:tc>
                  <a:txBody>
                    <a:bodyPr/>
                    <a:lstStyle/>
                    <a:p>
                      <a:r>
                        <a:rPr lang="da-DK" sz="900">
                          <a:solidFill>
                            <a:schemeClr val="bg1"/>
                          </a:solidFill>
                        </a:rPr>
                        <a:t>Fremdrift</a:t>
                      </a:r>
                      <a:endParaRPr lang="da-DK" sz="900" dirty="0">
                        <a:solidFill>
                          <a:schemeClr val="bg1"/>
                        </a:solidFill>
                      </a:endParaRPr>
                    </a:p>
                  </a:txBody>
                  <a:tcPr/>
                </a:tc>
                <a:extLst>
                  <a:ext uri="{0D108BD9-81ED-4DB2-BD59-A6C34878D82A}">
                    <a16:rowId xmlns:a16="http://schemas.microsoft.com/office/drawing/2014/main" val="3646691106"/>
                  </a:ext>
                </a:extLst>
              </a:tr>
              <a:tr h="887723">
                <a:tc>
                  <a:txBody>
                    <a:bodyPr/>
                    <a:lstStyle/>
                    <a:p>
                      <a:pPr marL="0" marR="0" lvl="0" indent="0" algn="l" defTabSz="818693" rtl="0" eaLnBrk="1" fontAlgn="auto" latinLnBrk="0" hangingPunct="1">
                        <a:lnSpc>
                          <a:spcPct val="100000"/>
                        </a:lnSpc>
                        <a:spcBef>
                          <a:spcPct val="0"/>
                        </a:spcBef>
                        <a:spcAft>
                          <a:spcPct val="0"/>
                        </a:spcAft>
                        <a:buClrTx/>
                        <a:buSzTx/>
                        <a:buFontTx/>
                        <a:buNone/>
                        <a:tabLst/>
                        <a:defRPr/>
                      </a:pPr>
                      <a:r>
                        <a:rPr lang="da-DK" sz="900" dirty="0">
                          <a:latin typeface="+mn-lt"/>
                        </a:rPr>
                        <a:t>6. </a:t>
                      </a:r>
                      <a:r>
                        <a:rPr lang="da-DK" sz="900" dirty="0">
                          <a:solidFill>
                            <a:schemeClr val="tx1"/>
                          </a:solidFill>
                          <a:latin typeface="+mn-lt"/>
                          <a:cs typeface="Calibri" panose="020F0502020204030204" pitchFamily="34" charset="0"/>
                        </a:rPr>
                        <a:t>Fælles retningslinjer for forsyningssektorens anvendelse af grunddata og georeferering </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b="1" dirty="0">
                        <a:solidFill>
                          <a:schemeClr val="tx1"/>
                        </a:solidFill>
                        <a:latin typeface="+mn-lt"/>
                        <a:cs typeface="Calibri" panose="020F0502020204030204" pitchFamily="34" charset="0"/>
                      </a:endParaRP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FFD-møde</a:t>
                      </a:r>
                      <a:br>
                        <a:rPr lang="da-DK" sz="900" dirty="0">
                          <a:latin typeface="+mn-lt"/>
                          <a:cs typeface="Calibri" panose="020F0502020204030204" pitchFamily="34" charset="0"/>
                        </a:rPr>
                      </a:br>
                      <a:r>
                        <a:rPr lang="da-DK" sz="900" dirty="0">
                          <a:latin typeface="+mn-lt"/>
                          <a:cs typeface="Calibri" panose="020F0502020204030204" pitchFamily="34" charset="0"/>
                        </a:rPr>
                        <a:t>(28. maj 2025)</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Klima-datastyrelsen</a:t>
                      </a:r>
                    </a:p>
                    <a:p>
                      <a:endParaRPr lang="da-DK" sz="900" dirty="0">
                        <a:solidFill>
                          <a:schemeClr val="tx1"/>
                        </a:solidFill>
                      </a:endParaRPr>
                    </a:p>
                  </a:txBody>
                  <a:tcPr/>
                </a:tc>
                <a:tc>
                  <a:txBody>
                    <a:bodyPr/>
                    <a:lstStyle/>
                    <a:p>
                      <a:r>
                        <a:rPr lang="da-DK" sz="900" dirty="0">
                          <a:solidFill>
                            <a:schemeClr val="tx1"/>
                          </a:solidFill>
                          <a:latin typeface="+mn-lt"/>
                          <a:cs typeface="Calibri" panose="020F0502020204030204" pitchFamily="34" charset="0"/>
                        </a:rPr>
                        <a:t>Arbejdsspor 2 vedr. </a:t>
                      </a:r>
                      <a:r>
                        <a:rPr lang="da-DK" sz="900" dirty="0" err="1">
                          <a:solidFill>
                            <a:schemeClr val="tx1"/>
                          </a:solidFill>
                          <a:latin typeface="+mn-lt"/>
                          <a:cs typeface="Calibri" panose="020F0502020204030204" pitchFamily="34" charset="0"/>
                        </a:rPr>
                        <a:t>interoperabilitet</a:t>
                      </a:r>
                      <a:endParaRPr lang="da-DK" sz="900" dirty="0">
                        <a:solidFill>
                          <a:schemeClr val="tx1"/>
                        </a:solidFill>
                        <a:latin typeface="+mn-lt"/>
                        <a:cs typeface="Calibri" panose="020F0502020204030204" pitchFamily="34" charset="0"/>
                      </a:endParaRPr>
                    </a:p>
                  </a:txBody>
                  <a:tcPr/>
                </a:tc>
                <a:tc>
                  <a:txBody>
                    <a:bodyPr/>
                    <a:lstStyle/>
                    <a:p>
                      <a:r>
                        <a:rPr lang="da-DK" sz="900" dirty="0">
                          <a:solidFill>
                            <a:schemeClr val="tx1"/>
                          </a:solidFill>
                        </a:rPr>
                        <a:t>1</a:t>
                      </a: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t>Der er udarbejdet retningslinjer, som udstikker metoder og principper for, hvordan forsyningssektoren bør anvende grunddata og georeferering.</a:t>
                      </a:r>
                    </a:p>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t> </a:t>
                      </a:r>
                      <a:br>
                        <a:rPr lang="da-DK" sz="800" dirty="0">
                          <a:solidFill>
                            <a:schemeClr val="tx1"/>
                          </a:solidFill>
                        </a:rPr>
                      </a:br>
                      <a:r>
                        <a:rPr lang="da-DK" sz="800" dirty="0">
                          <a:solidFill>
                            <a:schemeClr val="tx1"/>
                          </a:solidFill>
                        </a:rPr>
                        <a:t>Leverancen er godkendt af TAU den 23 april 2025 og FFD den 28 maj 2025.</a:t>
                      </a:r>
                    </a:p>
                  </a:txBody>
                  <a:tcPr/>
                </a:tc>
                <a:extLst>
                  <a:ext uri="{0D108BD9-81ED-4DB2-BD59-A6C34878D82A}">
                    <a16:rowId xmlns:a16="http://schemas.microsoft.com/office/drawing/2014/main" val="2614809727"/>
                  </a:ext>
                </a:extLst>
              </a:tr>
              <a:tr h="887723">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latin typeface="+mn-lt"/>
                        </a:rPr>
                        <a:t>7. </a:t>
                      </a:r>
                      <a:r>
                        <a:rPr lang="da-DK" sz="900" dirty="0">
                          <a:solidFill>
                            <a:schemeClr val="tx1"/>
                          </a:solidFill>
                          <a:latin typeface="+mn-lt"/>
                          <a:cs typeface="Calibri" panose="020F0502020204030204" pitchFamily="34" charset="0"/>
                        </a:rPr>
                        <a:t>Analyse af løsninger vedr. samtykke til 3. part</a:t>
                      </a: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r>
                        <a:rPr lang="da-DK" sz="900" dirty="0">
                          <a:latin typeface="+mn-lt"/>
                          <a:cs typeface="Calibri" panose="020F0502020204030204" pitchFamily="34" charset="0"/>
                        </a:rPr>
                        <a:t>Q4 2025</a:t>
                      </a:r>
                      <a:br>
                        <a:rPr lang="da-DK" sz="900" dirty="0">
                          <a:latin typeface="+mn-lt"/>
                          <a:cs typeface="Calibri" panose="020F0502020204030204" pitchFamily="34" charset="0"/>
                        </a:rPr>
                      </a:br>
                      <a:r>
                        <a:rPr lang="da-DK" sz="900" dirty="0">
                          <a:latin typeface="+mn-lt"/>
                          <a:cs typeface="Calibri" panose="020F0502020204030204" pitchFamily="34" charset="0"/>
                        </a:rPr>
                        <a:t>(FFD-møde 2. december 2025)</a:t>
                      </a:r>
                    </a:p>
                    <a:p>
                      <a:endParaRPr lang="da-DK" sz="900" dirty="0">
                        <a:solidFill>
                          <a:schemeClr val="tx1"/>
                        </a:solidFill>
                      </a:endParaRPr>
                    </a:p>
                  </a:txBody>
                  <a:tcPr/>
                </a:tc>
                <a:tc>
                  <a:txBody>
                    <a:bodyPr/>
                    <a:lstStyle/>
                    <a:p>
                      <a:r>
                        <a:rPr lang="da-DK" sz="900" dirty="0">
                          <a:latin typeface="+mn-lt"/>
                          <a:cs typeface="Calibri" panose="020F0502020204030204" pitchFamily="34" charset="0"/>
                        </a:rPr>
                        <a:t>Klima-datastyrelsen</a:t>
                      </a:r>
                    </a:p>
                    <a:p>
                      <a:r>
                        <a:rPr lang="da-DK" sz="900" dirty="0">
                          <a:latin typeface="+mn-lt"/>
                          <a:cs typeface="Calibri" panose="020F0502020204030204" pitchFamily="34" charset="0"/>
                        </a:rPr>
                        <a:t>/</a:t>
                      </a:r>
                      <a:r>
                        <a:rPr lang="da-DK" sz="900" dirty="0" err="1">
                          <a:latin typeface="+mn-lt"/>
                          <a:cs typeface="Calibri" panose="020F0502020204030204" pitchFamily="34" charset="0"/>
                        </a:rPr>
                        <a:t>Energi-styrelsen</a:t>
                      </a:r>
                      <a:endParaRPr lang="da-DK" sz="900" dirty="0">
                        <a:latin typeface="+mn-lt"/>
                        <a:cs typeface="Calibri" panose="020F0502020204030204" pitchFamily="34" charset="0"/>
                      </a:endParaRPr>
                    </a:p>
                    <a:p>
                      <a:endParaRPr lang="da-DK" sz="900" dirty="0">
                        <a:solidFill>
                          <a:schemeClr val="tx1"/>
                        </a:solidFill>
                      </a:endParaRPr>
                    </a:p>
                  </a:txBody>
                  <a:tcPr/>
                </a:tc>
                <a:tc>
                  <a:txBody>
                    <a:bodyPr/>
                    <a:lstStyle/>
                    <a:p>
                      <a:r>
                        <a:rPr lang="da-DK" sz="900" dirty="0">
                          <a:solidFill>
                            <a:schemeClr val="tx1"/>
                          </a:solidFill>
                          <a:latin typeface="+mn-lt"/>
                          <a:cs typeface="Calibri" panose="020F0502020204030204" pitchFamily="34" charset="0"/>
                        </a:rPr>
                        <a:t>Arbejdsspor 3 vedr. sikker dataudveksling og anvendelse</a:t>
                      </a:r>
                    </a:p>
                  </a:txBody>
                  <a:tcPr/>
                </a:tc>
                <a:tc>
                  <a:txBody>
                    <a:bodyPr/>
                    <a:lstStyle/>
                    <a:p>
                      <a:r>
                        <a:rPr lang="da-DK" sz="900" dirty="0">
                          <a:solidFill>
                            <a:schemeClr val="tx1"/>
                          </a:solidFill>
                        </a:rPr>
                        <a:t>1</a:t>
                      </a:r>
                    </a:p>
                  </a:txBody>
                  <a:tcPr/>
                </a:tc>
                <a:tc>
                  <a:txBody>
                    <a:bodyPr/>
                    <a:lstStyle/>
                    <a:p>
                      <a:pPr marL="0" marR="0" lvl="0" indent="0" algn="l" defTabSz="818672" rtl="0" eaLnBrk="1" fontAlgn="auto" latinLnBrk="0" hangingPunct="1">
                        <a:lnSpc>
                          <a:spcPct val="100000"/>
                        </a:lnSpc>
                        <a:spcBef>
                          <a:spcPts val="0"/>
                        </a:spcBef>
                        <a:spcAft>
                          <a:spcPts val="0"/>
                        </a:spcAft>
                        <a:buClrTx/>
                        <a:buSzTx/>
                        <a:buFontTx/>
                        <a:buNone/>
                        <a:tabLst/>
                        <a:defRPr/>
                      </a:pPr>
                      <a:r>
                        <a:rPr lang="da-DK" sz="800" dirty="0"/>
                        <a:t>Der er indledt dialog med Digitaliseringsstyrelsen om, hvorvidt deres løsning kan udbredes til forsyningssektoren. Relateret til leverancen har Klimadatastyrelsen igangsat et </a:t>
                      </a:r>
                      <a:r>
                        <a:rPr lang="da-DK" sz="800" dirty="0" err="1"/>
                        <a:t>Proof</a:t>
                      </a:r>
                      <a:r>
                        <a:rPr lang="da-DK" sz="800" dirty="0"/>
                        <a:t>-of-</a:t>
                      </a:r>
                      <a:r>
                        <a:rPr lang="da-DK" sz="800" dirty="0" err="1"/>
                        <a:t>concept</a:t>
                      </a:r>
                      <a:r>
                        <a:rPr lang="da-DK" sz="800" dirty="0"/>
                        <a:t>-projekt (</a:t>
                      </a:r>
                      <a:r>
                        <a:rPr lang="da-DK" sz="800" dirty="0" err="1"/>
                        <a:t>PoC</a:t>
                      </a:r>
                      <a:r>
                        <a:rPr lang="da-DK" sz="800" dirty="0"/>
                        <a:t>), som skal afdække mulighederne for at implementere en digital samtykkeløsning til deling af forbrugsdata med tredjepart i en forsyningsvirksomhed samt undersøge potentialet for en løsning på tværs i forsyningssektoren. Dette gøres med afsæt i e-nettets eksisterende samtykkeløsning, og der identificeres </a:t>
                      </a:r>
                      <a:r>
                        <a:rPr lang="da-DK" sz="800" dirty="0" err="1"/>
                        <a:t>use</a:t>
                      </a:r>
                      <a:r>
                        <a:rPr lang="da-DK" sz="800" dirty="0"/>
                        <a:t> cases fra forsyning Helsingør. </a:t>
                      </a:r>
                      <a:endParaRPr lang="da-DK" sz="800" dirty="0">
                        <a:solidFill>
                          <a:srgbClr val="FF0000"/>
                        </a:solidFill>
                      </a:endParaRPr>
                    </a:p>
                  </a:txBody>
                  <a:tcPr/>
                </a:tc>
                <a:extLst>
                  <a:ext uri="{0D108BD9-81ED-4DB2-BD59-A6C34878D82A}">
                    <a16:rowId xmlns:a16="http://schemas.microsoft.com/office/drawing/2014/main" val="1164482757"/>
                  </a:ext>
                </a:extLst>
              </a:tr>
              <a:tr h="725548">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rPr>
                        <a:t>8. </a:t>
                      </a:r>
                      <a:r>
                        <a:rPr lang="da-DK" sz="900" dirty="0">
                          <a:solidFill>
                            <a:schemeClr val="tx1"/>
                          </a:solidFill>
                          <a:effectLst/>
                          <a:latin typeface="+mn-lt"/>
                          <a:ea typeface="Calibri" panose="020F0502020204030204" pitchFamily="34" charset="0"/>
                          <a:cs typeface="Calibri" panose="020F0502020204030204" pitchFamily="34" charset="0"/>
                        </a:rPr>
                        <a:t>Fælles retningslinjer for håndtering af fortrolighed</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ffectLst/>
                        <a:latin typeface="+mn-lt"/>
                        <a:ea typeface="Calibri" panose="020F0502020204030204" pitchFamily="34" charset="0"/>
                        <a:cs typeface="Calibri" panose="020F0502020204030204" pitchFamily="34" charset="0"/>
                      </a:endParaRP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r>
                        <a:rPr lang="da-DK" sz="900" dirty="0">
                          <a:latin typeface="+mn-lt"/>
                          <a:cs typeface="Calibri" panose="020F0502020204030204" pitchFamily="34" charset="0"/>
                        </a:rPr>
                        <a:t>Q1 2026</a:t>
                      </a:r>
                      <a:br>
                        <a:rPr lang="da-DK" sz="900" dirty="0">
                          <a:latin typeface="+mn-lt"/>
                          <a:cs typeface="Calibri" panose="020F0502020204030204" pitchFamily="34" charset="0"/>
                        </a:rPr>
                      </a:br>
                      <a:r>
                        <a:rPr lang="da-DK" sz="900" dirty="0">
                          <a:latin typeface="+mn-lt"/>
                          <a:cs typeface="Calibri" panose="020F0502020204030204" pitchFamily="34" charset="0"/>
                        </a:rPr>
                        <a:t>(11. marts 2026)</a:t>
                      </a:r>
                      <a:br>
                        <a:rPr lang="da-DK" sz="900" dirty="0">
                          <a:latin typeface="+mn-lt"/>
                          <a:cs typeface="Calibri" panose="020F0502020204030204" pitchFamily="34" charset="0"/>
                        </a:rPr>
                      </a:br>
                      <a:endParaRPr lang="da-DK" sz="900" dirty="0">
                        <a:latin typeface="+mn-lt"/>
                        <a:cs typeface="Calibri" panose="020F0502020204030204" pitchFamily="34" charset="0"/>
                      </a:endParaRPr>
                    </a:p>
                    <a:p>
                      <a:endParaRPr lang="da-DK" sz="900" dirty="0">
                        <a:solidFill>
                          <a:schemeClr val="tx1"/>
                        </a:solidFill>
                      </a:endParaRPr>
                    </a:p>
                  </a:txBody>
                  <a:tcPr/>
                </a:tc>
                <a:tc>
                  <a:txBody>
                    <a:bodyPr/>
                    <a:lstStyle/>
                    <a:p>
                      <a:r>
                        <a:rPr lang="da-DK" sz="900" dirty="0">
                          <a:latin typeface="+mn-lt"/>
                          <a:cs typeface="Calibri" panose="020F0502020204030204" pitchFamily="34" charset="0"/>
                        </a:rPr>
                        <a:t>Klima-datastyrelsen</a:t>
                      </a:r>
                    </a:p>
                    <a:p>
                      <a:r>
                        <a:rPr lang="da-DK" sz="900" dirty="0">
                          <a:latin typeface="+mn-lt"/>
                          <a:cs typeface="Calibri" panose="020F0502020204030204" pitchFamily="34" charset="0"/>
                        </a:rPr>
                        <a:t>/</a:t>
                      </a:r>
                      <a:r>
                        <a:rPr lang="da-DK" sz="900" dirty="0" err="1">
                          <a:latin typeface="+mn-lt"/>
                          <a:cs typeface="Calibri" panose="020F0502020204030204" pitchFamily="34" charset="0"/>
                        </a:rPr>
                        <a:t>Energi-styrelsen</a:t>
                      </a:r>
                      <a:endParaRPr lang="da-DK" sz="900" dirty="0">
                        <a:latin typeface="+mn-lt"/>
                        <a:cs typeface="Calibri" panose="020F0502020204030204" pitchFamily="34" charset="0"/>
                      </a:endParaRP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latin typeface="+mn-lt"/>
                          <a:cs typeface="Calibri" panose="020F0502020204030204" pitchFamily="34" charset="0"/>
                        </a:rPr>
                        <a:t>Arbejdsspor 3 vedr. sikker dataudveksling og anvendelse</a:t>
                      </a:r>
                    </a:p>
                    <a:p>
                      <a:endParaRPr lang="da-DK" sz="900" dirty="0">
                        <a:solidFill>
                          <a:schemeClr val="tx1"/>
                        </a:solidFill>
                        <a:latin typeface="+mn-lt"/>
                        <a:cs typeface="Calibri" panose="020F0502020204030204" pitchFamily="34" charset="0"/>
                      </a:endParaRPr>
                    </a:p>
                  </a:txBody>
                  <a:tcPr/>
                </a:tc>
                <a:tc>
                  <a:txBody>
                    <a:bodyPr/>
                    <a:lstStyle/>
                    <a:p>
                      <a:r>
                        <a:rPr lang="da-DK" sz="900" dirty="0">
                          <a:solidFill>
                            <a:schemeClr val="tx1"/>
                          </a:solidFill>
                        </a:rPr>
                        <a:t>2</a:t>
                      </a:r>
                    </a:p>
                  </a:txBody>
                  <a:tcPr/>
                </a:tc>
                <a:tc>
                  <a:txBody>
                    <a:bodyPr/>
                    <a:lstStyle/>
                    <a:p>
                      <a:pPr marL="0" indent="0">
                        <a:buFont typeface="Arial" panose="020B0604020202020204" pitchFamily="34" charset="0"/>
                        <a:buNone/>
                      </a:pPr>
                      <a:r>
                        <a:rPr lang="da-DK" sz="800" dirty="0">
                          <a:solidFill>
                            <a:schemeClr val="tx1"/>
                          </a:solidFill>
                        </a:rPr>
                        <a:t>Arbejdssporet er i gang med at indsamle materiale fra medlemmer om håndtering af datafortrolighed. På den baggrund vil der igangsættes analyse og sammenskrivning af de indhentede eksempler.</a:t>
                      </a:r>
                      <a:br>
                        <a:rPr lang="da-DK" sz="800" dirty="0">
                          <a:solidFill>
                            <a:schemeClr val="tx1"/>
                          </a:solidFill>
                        </a:rPr>
                      </a:br>
                      <a:br>
                        <a:rPr lang="da-DK" sz="800" dirty="0">
                          <a:solidFill>
                            <a:srgbClr val="FF0000"/>
                          </a:solidFill>
                        </a:rPr>
                      </a:br>
                      <a:endParaRPr lang="da-DK" sz="800" dirty="0">
                        <a:solidFill>
                          <a:srgbClr val="FF0000"/>
                        </a:solidFill>
                      </a:endParaRPr>
                    </a:p>
                  </a:txBody>
                  <a:tcPr/>
                </a:tc>
                <a:extLst>
                  <a:ext uri="{0D108BD9-81ED-4DB2-BD59-A6C34878D82A}">
                    <a16:rowId xmlns:a16="http://schemas.microsoft.com/office/drawing/2014/main" val="1663565517"/>
                  </a:ext>
                </a:extLst>
              </a:tr>
            </a:tbl>
          </a:graphicData>
        </a:graphic>
      </p:graphicFrame>
      <p:pic>
        <p:nvPicPr>
          <p:cNvPr id="24" name="Grafik 23" descr="Afkrydsning">
            <a:extLst>
              <a:ext uri="{FF2B5EF4-FFF2-40B4-BE49-F238E27FC236}">
                <a16:creationId xmlns:a16="http://schemas.microsoft.com/office/drawing/2014/main" id="{273DFAAE-364D-4CC3-9333-0FE3366D9EB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16248" y="1215941"/>
            <a:ext cx="508001" cy="508001"/>
          </a:xfrm>
          <a:prstGeom prst="rect">
            <a:avLst/>
          </a:prstGeom>
        </p:spPr>
      </p:pic>
    </p:spTree>
    <p:extLst>
      <p:ext uri="{BB962C8B-B14F-4D97-AF65-F5344CB8AC3E}">
        <p14:creationId xmlns:p14="http://schemas.microsoft.com/office/powerpoint/2010/main" val="426340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pPr marL="0" marR="0" lvl="0" indent="0" algn="l" defTabSz="818693" rtl="0" eaLnBrk="1" fontAlgn="auto" latinLnBrk="0" hangingPunct="1">
              <a:lnSpc>
                <a:spcPct val="100000"/>
              </a:lnSpc>
              <a:spcBef>
                <a:spcPts val="0"/>
              </a:spcBef>
              <a:spcAft>
                <a:spcPts val="0"/>
              </a:spcAft>
              <a:buClrTx/>
              <a:buSzTx/>
              <a:buFontTx/>
              <a:buNone/>
              <a:tabLst/>
              <a:defRPr/>
            </a:pPr>
            <a:fld id="{D6C43E05-5416-43CC-9354-A0F970D8A001}" type="datetime2">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l" defTabSz="818693" rtl="0" eaLnBrk="1" fontAlgn="auto" latinLnBrk="0" hangingPunct="1">
                <a:lnSpc>
                  <a:spcPct val="100000"/>
                </a:lnSpc>
                <a:spcBef>
                  <a:spcPts val="0"/>
                </a:spcBef>
                <a:spcAft>
                  <a:spcPts val="0"/>
                </a:spcAft>
                <a:buClrTx/>
                <a:buSzTx/>
                <a:buFontTx/>
                <a:buNone/>
                <a:tabLst/>
                <a:defRPr/>
              </a:pPr>
              <a:t>17. september 2025</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 name="Pladsholder til slidenummer 2"/>
          <p:cNvSpPr>
            <a:spLocks noGrp="1"/>
          </p:cNvSpPr>
          <p:nvPr>
            <p:ph type="sldNum" sz="quarter" idx="17"/>
          </p:nvPr>
        </p:nvSpPr>
        <p:spPr/>
        <p:txBody>
          <a:bodyPr/>
          <a:lstStyle/>
          <a:p>
            <a:pPr marL="0" marR="0" lvl="0" indent="0" algn="r" defTabSz="818693"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ide </a:t>
            </a:r>
            <a:fld id="{8E044AEF-F590-47CE-BE8F-5C241A59BA2A}" type="slidenum">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r" defTabSz="818693" rtl="0" eaLnBrk="1" fontAlgn="auto" latinLnBrk="0" hangingPunct="1">
                <a:lnSpc>
                  <a:spcPct val="100000"/>
                </a:lnSpc>
                <a:spcBef>
                  <a:spcPts val="0"/>
                </a:spcBef>
                <a:spcAft>
                  <a:spcPts val="0"/>
                </a:spcAft>
                <a:buClrTx/>
                <a:buSzTx/>
                <a:buFontTx/>
                <a:buNone/>
                <a:tabLst/>
                <a:defRPr/>
              </a:pPr>
              <a:t>7</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 name="Tekstfelt 17"/>
          <p:cNvSpPr txBox="1"/>
          <p:nvPr/>
        </p:nvSpPr>
        <p:spPr>
          <a:xfrm>
            <a:off x="2977138" y="123478"/>
            <a:ext cx="111440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 name="Tekstfelt 21"/>
          <p:cNvSpPr txBox="1"/>
          <p:nvPr/>
        </p:nvSpPr>
        <p:spPr>
          <a:xfrm>
            <a:off x="1316526" y="124058"/>
            <a:ext cx="1459054"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ølger tidsplanen</a:t>
            </a:r>
          </a:p>
        </p:txBody>
      </p:sp>
      <p:graphicFrame>
        <p:nvGraphicFramePr>
          <p:cNvPr id="13" name="Tabel 12"/>
          <p:cNvGraphicFramePr>
            <a:graphicFrameLocks noGrp="1"/>
          </p:cNvGraphicFramePr>
          <p:nvPr>
            <p:extLst/>
          </p:nvPr>
        </p:nvGraphicFramePr>
        <p:xfrm>
          <a:off x="181129" y="495329"/>
          <a:ext cx="8781743" cy="4568793"/>
        </p:xfrm>
        <a:graphic>
          <a:graphicData uri="http://schemas.openxmlformats.org/drawingml/2006/table">
            <a:tbl>
              <a:tblPr firstRow="1" bandRow="1">
                <a:tableStyleId>{5C22544A-7EE6-4342-B048-85BDC9FD1C3A}</a:tableStyleId>
              </a:tblPr>
              <a:tblGrid>
                <a:gridCol w="1860539">
                  <a:extLst>
                    <a:ext uri="{9D8B030D-6E8A-4147-A177-3AD203B41FA5}">
                      <a16:colId xmlns:a16="http://schemas.microsoft.com/office/drawing/2014/main" val="1597883597"/>
                    </a:ext>
                  </a:extLst>
                </a:gridCol>
                <a:gridCol w="819723">
                  <a:extLst>
                    <a:ext uri="{9D8B030D-6E8A-4147-A177-3AD203B41FA5}">
                      <a16:colId xmlns:a16="http://schemas.microsoft.com/office/drawing/2014/main" val="606829951"/>
                    </a:ext>
                  </a:extLst>
                </a:gridCol>
                <a:gridCol w="668708">
                  <a:extLst>
                    <a:ext uri="{9D8B030D-6E8A-4147-A177-3AD203B41FA5}">
                      <a16:colId xmlns:a16="http://schemas.microsoft.com/office/drawing/2014/main" val="87302883"/>
                    </a:ext>
                  </a:extLst>
                </a:gridCol>
                <a:gridCol w="595373">
                  <a:extLst>
                    <a:ext uri="{9D8B030D-6E8A-4147-A177-3AD203B41FA5}">
                      <a16:colId xmlns:a16="http://schemas.microsoft.com/office/drawing/2014/main" val="2738556525"/>
                    </a:ext>
                  </a:extLst>
                </a:gridCol>
                <a:gridCol w="893058">
                  <a:extLst>
                    <a:ext uri="{9D8B030D-6E8A-4147-A177-3AD203B41FA5}">
                      <a16:colId xmlns:a16="http://schemas.microsoft.com/office/drawing/2014/main" val="4087329800"/>
                    </a:ext>
                  </a:extLst>
                </a:gridCol>
                <a:gridCol w="1116323">
                  <a:extLst>
                    <a:ext uri="{9D8B030D-6E8A-4147-A177-3AD203B41FA5}">
                      <a16:colId xmlns:a16="http://schemas.microsoft.com/office/drawing/2014/main" val="1807219806"/>
                    </a:ext>
                  </a:extLst>
                </a:gridCol>
                <a:gridCol w="744215">
                  <a:extLst>
                    <a:ext uri="{9D8B030D-6E8A-4147-A177-3AD203B41FA5}">
                      <a16:colId xmlns:a16="http://schemas.microsoft.com/office/drawing/2014/main" val="77418318"/>
                    </a:ext>
                  </a:extLst>
                </a:gridCol>
                <a:gridCol w="2083804">
                  <a:extLst>
                    <a:ext uri="{9D8B030D-6E8A-4147-A177-3AD203B41FA5}">
                      <a16:colId xmlns:a16="http://schemas.microsoft.com/office/drawing/2014/main" val="624544613"/>
                    </a:ext>
                  </a:extLst>
                </a:gridCol>
              </a:tblGrid>
              <a:tr h="532358">
                <a:tc>
                  <a:txBody>
                    <a:bodyPr/>
                    <a:lstStyle/>
                    <a:p>
                      <a:r>
                        <a:rPr lang="da-DK" sz="900" dirty="0">
                          <a:solidFill>
                            <a:schemeClr val="bg1"/>
                          </a:solidFill>
                        </a:rPr>
                        <a:t>TAU-leverance</a:t>
                      </a:r>
                    </a:p>
                  </a:txBody>
                  <a:tcPr/>
                </a:tc>
                <a:tc>
                  <a:txBody>
                    <a:bodyPr/>
                    <a:lstStyle/>
                    <a:p>
                      <a:r>
                        <a:rPr lang="da-DK" sz="900">
                          <a:solidFill>
                            <a:schemeClr val="bg1"/>
                          </a:solidFill>
                        </a:rPr>
                        <a:t>Status</a:t>
                      </a:r>
                      <a:endParaRPr lang="da-DK" sz="900" b="0" dirty="0">
                        <a:solidFill>
                          <a:schemeClr val="bg1"/>
                        </a:solidFill>
                      </a:endParaRPr>
                    </a:p>
                  </a:txBody>
                  <a:tcPr/>
                </a:tc>
                <a:tc>
                  <a:txBody>
                    <a:bodyPr/>
                    <a:lstStyle/>
                    <a:p>
                      <a:r>
                        <a:rPr lang="da-DK" sz="900">
                          <a:solidFill>
                            <a:schemeClr val="bg1"/>
                          </a:solidFill>
                        </a:rPr>
                        <a:t>Påbegyndes</a:t>
                      </a:r>
                      <a:endParaRPr lang="da-DK" sz="900" dirty="0">
                        <a:solidFill>
                          <a:schemeClr val="bg1"/>
                        </a:solidFill>
                      </a:endParaRPr>
                    </a:p>
                  </a:txBody>
                  <a:tcPr/>
                </a:tc>
                <a:tc>
                  <a:txBody>
                    <a:bodyPr/>
                    <a:lstStyle/>
                    <a:p>
                      <a:r>
                        <a:rPr lang="da-DK" sz="900">
                          <a:solidFill>
                            <a:schemeClr val="bg1"/>
                          </a:solidFill>
                        </a:rPr>
                        <a:t>Afsluttes</a:t>
                      </a:r>
                      <a:endParaRPr lang="da-DK" sz="900" dirty="0">
                        <a:solidFill>
                          <a:schemeClr val="bg1"/>
                        </a:solidFill>
                      </a:endParaRPr>
                    </a:p>
                  </a:txBody>
                  <a:tcPr/>
                </a:tc>
                <a:tc>
                  <a:txBody>
                    <a:bodyPr/>
                    <a:lstStyle/>
                    <a:p>
                      <a:r>
                        <a:rPr lang="da-DK" sz="900">
                          <a:solidFill>
                            <a:schemeClr val="bg1"/>
                          </a:solidFill>
                        </a:rPr>
                        <a:t>Ansvarlig aktør (tovholder)</a:t>
                      </a:r>
                      <a:endParaRPr lang="da-DK" sz="900" dirty="0">
                        <a:solidFill>
                          <a:schemeClr val="bg1"/>
                        </a:solidFill>
                      </a:endParaRP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a:solidFill>
                            <a:schemeClr val="bg1"/>
                          </a:solidFill>
                        </a:rPr>
                        <a:t>Målsætning</a:t>
                      </a:r>
                      <a:endParaRPr lang="da-DK" sz="900" dirty="0">
                        <a:solidFill>
                          <a:schemeClr val="bg1"/>
                        </a:solidFill>
                      </a:endParaRPr>
                    </a:p>
                  </a:txBody>
                  <a:tcPr/>
                </a:tc>
                <a:tc>
                  <a:txBody>
                    <a:bodyPr/>
                    <a:lstStyle/>
                    <a:p>
                      <a:r>
                        <a:rPr lang="da-DK" sz="900">
                          <a:solidFill>
                            <a:schemeClr val="bg1"/>
                          </a:solidFill>
                        </a:rPr>
                        <a:t>Fremdrift</a:t>
                      </a:r>
                      <a:endParaRPr lang="da-DK" sz="900" dirty="0">
                        <a:solidFill>
                          <a:schemeClr val="bg1"/>
                        </a:solidFill>
                      </a:endParaRPr>
                    </a:p>
                  </a:txBody>
                  <a:tcPr/>
                </a:tc>
                <a:extLst>
                  <a:ext uri="{0D108BD9-81ED-4DB2-BD59-A6C34878D82A}">
                    <a16:rowId xmlns:a16="http://schemas.microsoft.com/office/drawing/2014/main" val="3646691106"/>
                  </a:ext>
                </a:extLst>
              </a:tr>
              <a:tr h="2548868">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9. </a:t>
                      </a:r>
                      <a:r>
                        <a:rPr lang="da-DK" sz="900" dirty="0">
                          <a:solidFill>
                            <a:schemeClr val="tx1"/>
                          </a:solidFill>
                          <a:latin typeface="+mn-lt"/>
                          <a:cs typeface="Calibri" panose="020F0502020204030204" pitchFamily="34" charset="0"/>
                        </a:rPr>
                        <a:t>Redegørelse for relevante GDPR-problematikker i forbindelse med udlevering af forsyningsdata</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b="1" dirty="0">
                        <a:solidFill>
                          <a:schemeClr val="tx1"/>
                        </a:solidFill>
                        <a:latin typeface="+mn-lt"/>
                        <a:cs typeface="Calibri" panose="020F0502020204030204" pitchFamily="34" charset="0"/>
                      </a:endParaRPr>
                    </a:p>
                  </a:txBody>
                  <a:tcPr/>
                </a:tc>
                <a:tc>
                  <a:txBody>
                    <a:bodyPr/>
                    <a:lstStyle/>
                    <a:p>
                      <a:endParaRPr lang="da-DK" sz="900" dirty="0">
                        <a:solidFill>
                          <a:schemeClr val="tx1"/>
                        </a:solidFill>
                      </a:endParaRPr>
                    </a:p>
                  </a:txBody>
                  <a:tcPr>
                    <a:solidFill>
                      <a:srgbClr val="FF000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latin typeface="+mn-lt"/>
                          <a:cs typeface="Calibri" panose="020F0502020204030204" pitchFamily="34" charset="0"/>
                        </a:rPr>
                        <a:t>Q1 2025</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rgbClr val="FF0000"/>
                          </a:solidFill>
                          <a:latin typeface="+mn-lt"/>
                          <a:cs typeface="Calibri" panose="020F0502020204030204" pitchFamily="34" charset="0"/>
                        </a:rPr>
                        <a:t>Q1 2026</a:t>
                      </a:r>
                      <a:br>
                        <a:rPr lang="da-DK" sz="900" dirty="0">
                          <a:solidFill>
                            <a:srgbClr val="FF0000"/>
                          </a:solidFill>
                          <a:latin typeface="+mn-lt"/>
                          <a:cs typeface="Calibri" panose="020F0502020204030204" pitchFamily="34" charset="0"/>
                        </a:rPr>
                      </a:br>
                      <a:r>
                        <a:rPr lang="da-DK" sz="900" dirty="0">
                          <a:solidFill>
                            <a:srgbClr val="FF0000"/>
                          </a:solidFill>
                          <a:latin typeface="+mn-lt"/>
                          <a:cs typeface="Calibri" panose="020F0502020204030204" pitchFamily="34" charset="0"/>
                        </a:rPr>
                        <a:t>(FFD-Møde 11. marts 2026)</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Klimadatastyrelsen/Energistyrelsen</a:t>
                      </a:r>
                    </a:p>
                    <a:p>
                      <a:pPr marL="0" marR="0" lvl="0" indent="0" algn="l" defTabSz="818693"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a:p>
                      <a:endParaRPr lang="da-DK" sz="900" dirty="0">
                        <a:solidFill>
                          <a:schemeClr val="tx1"/>
                        </a:solidFill>
                      </a:endParaRPr>
                    </a:p>
                  </a:txBody>
                  <a:tcPr/>
                </a:tc>
                <a:tc>
                  <a:txBody>
                    <a:bodyPr/>
                    <a:lstStyle/>
                    <a:p>
                      <a:r>
                        <a:rPr lang="da-DK" sz="900" dirty="0">
                          <a:solidFill>
                            <a:schemeClr val="tx1"/>
                          </a:solidFill>
                          <a:latin typeface="+mn-lt"/>
                          <a:cs typeface="Calibri" panose="020F0502020204030204" pitchFamily="34" charset="0"/>
                        </a:rPr>
                        <a:t>Arbejdsspor 3 vedr. sikker dataudveksling og anvendelse</a:t>
                      </a:r>
                    </a:p>
                  </a:txBody>
                  <a:tcPr/>
                </a:tc>
                <a:tc>
                  <a:txBody>
                    <a:bodyPr/>
                    <a:lstStyle/>
                    <a:p>
                      <a:r>
                        <a:rPr lang="da-DK" sz="900" dirty="0">
                          <a:solidFill>
                            <a:schemeClr val="tx1"/>
                          </a:solidFill>
                        </a:rPr>
                        <a:t>1</a:t>
                      </a: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b="0" i="0" kern="1200" dirty="0">
                          <a:solidFill>
                            <a:schemeClr val="dk1"/>
                          </a:solidFill>
                          <a:effectLst/>
                          <a:latin typeface="+mn-lt"/>
                          <a:ea typeface="+mn-ea"/>
                          <a:cs typeface="+mn-cs"/>
                        </a:rPr>
                        <a:t>Arbejdssporet har udsendt spørgeskemaer til forsyningsvirksomheder og dataanvendere via brancheorganisationer og relevante repræsentanter for anvendere. Formålet er at afdække GDPR-udfordringer ved udlevering samt adgang til og indhentning af data. Besvarelserne danner grundlag for den efterfølgende udarbejdelse af retningslinjer. </a:t>
                      </a:r>
                      <a:br>
                        <a:rPr lang="da-DK" sz="800" b="0" i="0" kern="1200" dirty="0">
                          <a:solidFill>
                            <a:schemeClr val="dk1"/>
                          </a:solidFill>
                          <a:effectLst/>
                          <a:latin typeface="+mn-lt"/>
                          <a:ea typeface="+mn-ea"/>
                          <a:cs typeface="+mn-cs"/>
                        </a:rPr>
                      </a:br>
                      <a:endParaRPr lang="da-DK" sz="800" b="0" i="0" kern="1200" dirty="0">
                        <a:solidFill>
                          <a:schemeClr val="dk1"/>
                        </a:solidFill>
                        <a:effectLst/>
                        <a:latin typeface="+mn-lt"/>
                        <a:ea typeface="+mn-ea"/>
                        <a:cs typeface="+mn-cs"/>
                      </a:endParaRPr>
                    </a:p>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b="0" i="0" kern="1200" dirty="0">
                          <a:solidFill>
                            <a:schemeClr val="tx1"/>
                          </a:solidFill>
                          <a:effectLst/>
                          <a:latin typeface="+mn-lt"/>
                          <a:ea typeface="+mn-ea"/>
                          <a:cs typeface="+mn-cs"/>
                        </a:rPr>
                        <a:t>Der er god aktivitet i leverancen. Af hensyn til at sikre, muligheden for de nødvendige drøftelser og behandling af leverancen i TAU og </a:t>
                      </a:r>
                      <a:r>
                        <a:rPr lang="da-DK" sz="800" b="0" i="0" kern="1200" dirty="0" err="1">
                          <a:solidFill>
                            <a:schemeClr val="tx1"/>
                          </a:solidFill>
                          <a:effectLst/>
                          <a:latin typeface="+mn-lt"/>
                          <a:ea typeface="+mn-ea"/>
                          <a:cs typeface="+mn-cs"/>
                        </a:rPr>
                        <a:t>DUG’erne</a:t>
                      </a:r>
                      <a:r>
                        <a:rPr lang="da-DK" sz="800" b="0" i="0" kern="1200" dirty="0">
                          <a:solidFill>
                            <a:schemeClr val="tx1"/>
                          </a:solidFill>
                          <a:effectLst/>
                          <a:latin typeface="+mn-lt"/>
                          <a:ea typeface="+mn-ea"/>
                          <a:cs typeface="+mn-cs"/>
                        </a:rPr>
                        <a:t> fora, inden den endelige godkendelse justeres slutdatoen fra Q4 2025 til FFD-mødet den 11. marts 2026.</a:t>
                      </a:r>
                      <a:endParaRPr lang="da-DK" sz="800" dirty="0"/>
                    </a:p>
                  </a:txBody>
                  <a:tcPr/>
                </a:tc>
                <a:extLst>
                  <a:ext uri="{0D108BD9-81ED-4DB2-BD59-A6C34878D82A}">
                    <a16:rowId xmlns:a16="http://schemas.microsoft.com/office/drawing/2014/main" val="2614809727"/>
                  </a:ext>
                </a:extLst>
              </a:tr>
              <a:tr h="1487567">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10. </a:t>
                      </a:r>
                      <a:r>
                        <a:rPr lang="da-DK" sz="900" kern="1200" dirty="0">
                          <a:solidFill>
                            <a:schemeClr val="dk1"/>
                          </a:solidFill>
                          <a:effectLst/>
                          <a:latin typeface="+mn-lt"/>
                          <a:ea typeface="+mn-ea"/>
                          <a:cs typeface="Calibri" panose="020F0502020204030204" pitchFamily="34" charset="0"/>
                        </a:rPr>
                        <a:t>Analyse af sektorkobling i relation til FDP´s genstandsfelt</a:t>
                      </a:r>
                      <a:endParaRPr lang="da-DK" sz="900" dirty="0">
                        <a:effectLst/>
                        <a:latin typeface="+mn-lt"/>
                        <a:ea typeface="Calibri" panose="020F0502020204030204" pitchFamily="34" charset="0"/>
                        <a:cs typeface="Calibri" panose="020F0502020204030204" pitchFamily="34" charset="0"/>
                      </a:endParaRPr>
                    </a:p>
                  </a:txBody>
                  <a:tcPr/>
                </a:tc>
                <a:tc>
                  <a:txBody>
                    <a:bodyPr/>
                    <a:lstStyle/>
                    <a:p>
                      <a:endParaRPr lang="da-DK" sz="900" dirty="0">
                        <a:solidFill>
                          <a:schemeClr val="tx1"/>
                        </a:solidFill>
                      </a:endParaRPr>
                    </a:p>
                  </a:txBody>
                  <a:tcPr>
                    <a:solidFill>
                      <a:schemeClr val="bg1">
                        <a:lumMod val="7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latin typeface="+mn-lt"/>
                          <a:cs typeface="Calibri" panose="020F0502020204030204" pitchFamily="34" charset="0"/>
                        </a:rPr>
                        <a:t>Q2 2025</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latin typeface="+mn-lt"/>
                          <a:cs typeface="Calibri" panose="020F0502020204030204" pitchFamily="34" charset="0"/>
                        </a:rPr>
                        <a:t>Q4 2025</a:t>
                      </a:r>
                      <a:br>
                        <a:rPr lang="da-DK" sz="900" dirty="0">
                          <a:solidFill>
                            <a:schemeClr val="tx1"/>
                          </a:solidFill>
                          <a:latin typeface="+mn-lt"/>
                          <a:cs typeface="Calibri" panose="020F0502020204030204" pitchFamily="34" charset="0"/>
                        </a:rPr>
                      </a:br>
                      <a:r>
                        <a:rPr lang="da-DK" sz="900" dirty="0">
                          <a:solidFill>
                            <a:schemeClr val="tx1"/>
                          </a:solidFill>
                          <a:latin typeface="+mn-lt"/>
                          <a:cs typeface="Calibri" panose="020F0502020204030204" pitchFamily="34" charset="0"/>
                        </a:rPr>
                        <a:t>(FFD-møde 3.december 2025)</a:t>
                      </a:r>
                    </a:p>
                    <a:p>
                      <a:endParaRPr lang="da-DK" sz="900" dirty="0">
                        <a:solidFill>
                          <a:schemeClr val="tx1"/>
                        </a:solidFill>
                      </a:endParaRPr>
                    </a:p>
                  </a:txBody>
                  <a:tcPr/>
                </a:tc>
                <a:tc>
                  <a:txBody>
                    <a:bodyPr/>
                    <a:lstStyle/>
                    <a:p>
                      <a:r>
                        <a:rPr lang="da-DK" sz="900" dirty="0">
                          <a:latin typeface="+mn-lt"/>
                          <a:cs typeface="Calibri" panose="020F0502020204030204" pitchFamily="34" charset="0"/>
                        </a:rPr>
                        <a:t>Klimadatastyrelsen/Energistyrelsen</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Arbejdsspor 1 vedr. dataøkosystem og sektorkobling. </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1, 2, 4, 5, 9.</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dirty="0">
                          <a:solidFill>
                            <a:schemeClr val="tx1"/>
                          </a:solidFill>
                          <a:latin typeface="+mn-lt"/>
                          <a:ea typeface="+mn-ea"/>
                          <a:cs typeface="+mn-cs"/>
                        </a:rPr>
                        <a:t>TAU besluttede på mødet den 26. august 2025, at leverance 10 udgår af arbejdsprogrammet. Baggrunden er overlap med andre leverancer, herunder bidraget til fleksibilitetsleverancen i </a:t>
                      </a:r>
                      <a:r>
                        <a:rPr lang="da-DK" sz="800" kern="1200" dirty="0" err="1">
                          <a:solidFill>
                            <a:schemeClr val="tx1"/>
                          </a:solidFill>
                          <a:latin typeface="+mn-lt"/>
                          <a:ea typeface="+mn-ea"/>
                          <a:cs typeface="+mn-cs"/>
                        </a:rPr>
                        <a:t>El-DUG’en</a:t>
                      </a:r>
                      <a:r>
                        <a:rPr lang="da-DK" sz="800" kern="1200" dirty="0">
                          <a:solidFill>
                            <a:schemeClr val="tx1"/>
                          </a:solidFill>
                          <a:latin typeface="+mn-lt"/>
                          <a:ea typeface="+mn-ea"/>
                          <a:cs typeface="+mn-cs"/>
                        </a:rPr>
                        <a:t>. Leverance 10 fokuserer primært på sektorernes kobling til elnettet, og det vurderer derfor, leverancens genstandsfelt har tættere faglig tilknytning til de enkelte </a:t>
                      </a:r>
                      <a:r>
                        <a:rPr lang="da-DK" sz="800" kern="1200" dirty="0" err="1">
                          <a:solidFill>
                            <a:schemeClr val="tx1"/>
                          </a:solidFill>
                          <a:latin typeface="+mn-lt"/>
                          <a:ea typeface="+mn-ea"/>
                          <a:cs typeface="+mn-cs"/>
                        </a:rPr>
                        <a:t>DUG’er</a:t>
                      </a:r>
                      <a:r>
                        <a:rPr lang="da-DK" sz="800" kern="1200" dirty="0">
                          <a:solidFill>
                            <a:schemeClr val="tx1"/>
                          </a:solidFill>
                          <a:latin typeface="+mn-lt"/>
                          <a:ea typeface="+mn-ea"/>
                          <a:cs typeface="+mn-cs"/>
                        </a:rPr>
                        <a:t> og særligt </a:t>
                      </a:r>
                      <a:r>
                        <a:rPr lang="da-DK" sz="800" kern="1200" dirty="0" err="1">
                          <a:solidFill>
                            <a:schemeClr val="tx1"/>
                          </a:solidFill>
                          <a:latin typeface="+mn-lt"/>
                          <a:ea typeface="+mn-ea"/>
                          <a:cs typeface="+mn-cs"/>
                        </a:rPr>
                        <a:t>El-DUG’ens</a:t>
                      </a:r>
                      <a:r>
                        <a:rPr lang="da-DK" sz="800" kern="1200" dirty="0">
                          <a:solidFill>
                            <a:schemeClr val="tx1"/>
                          </a:solidFill>
                          <a:latin typeface="+mn-lt"/>
                          <a:ea typeface="+mn-ea"/>
                          <a:cs typeface="+mn-cs"/>
                        </a:rPr>
                        <a:t> arbejde.</a:t>
                      </a:r>
                    </a:p>
                  </a:txBody>
                  <a:tcPr/>
                </a:tc>
                <a:extLst>
                  <a:ext uri="{0D108BD9-81ED-4DB2-BD59-A6C34878D82A}">
                    <a16:rowId xmlns:a16="http://schemas.microsoft.com/office/drawing/2014/main" val="1164482757"/>
                  </a:ext>
                </a:extLst>
              </a:tr>
            </a:tbl>
          </a:graphicData>
        </a:graphic>
      </p:graphicFrame>
    </p:spTree>
    <p:extLst>
      <p:ext uri="{BB962C8B-B14F-4D97-AF65-F5344CB8AC3E}">
        <p14:creationId xmlns:p14="http://schemas.microsoft.com/office/powerpoint/2010/main" val="199236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pPr marL="0" marR="0" lvl="0" indent="0" algn="l" defTabSz="818693" rtl="0" eaLnBrk="1" fontAlgn="auto" latinLnBrk="0" hangingPunct="1">
              <a:lnSpc>
                <a:spcPct val="100000"/>
              </a:lnSpc>
              <a:spcBef>
                <a:spcPts val="0"/>
              </a:spcBef>
              <a:spcAft>
                <a:spcPts val="0"/>
              </a:spcAft>
              <a:buClrTx/>
              <a:buSzTx/>
              <a:buFontTx/>
              <a:buNone/>
              <a:tabLst/>
              <a:defRPr/>
            </a:pPr>
            <a:fld id="{D6C43E05-5416-43CC-9354-A0F970D8A001}" type="datetime2">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l" defTabSz="818693" rtl="0" eaLnBrk="1" fontAlgn="auto" latinLnBrk="0" hangingPunct="1">
                <a:lnSpc>
                  <a:spcPct val="100000"/>
                </a:lnSpc>
                <a:spcBef>
                  <a:spcPts val="0"/>
                </a:spcBef>
                <a:spcAft>
                  <a:spcPts val="0"/>
                </a:spcAft>
                <a:buClrTx/>
                <a:buSzTx/>
                <a:buFontTx/>
                <a:buNone/>
                <a:tabLst/>
                <a:defRPr/>
              </a:pPr>
              <a:t>17. september 2025</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 name="Pladsholder til slidenummer 2"/>
          <p:cNvSpPr>
            <a:spLocks noGrp="1"/>
          </p:cNvSpPr>
          <p:nvPr>
            <p:ph type="sldNum" sz="quarter" idx="17"/>
          </p:nvPr>
        </p:nvSpPr>
        <p:spPr/>
        <p:txBody>
          <a:bodyPr/>
          <a:lstStyle/>
          <a:p>
            <a:pPr marL="0" marR="0" lvl="0" indent="0" algn="r" defTabSz="818693"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ide </a:t>
            </a:r>
            <a:fld id="{8E044AEF-F590-47CE-BE8F-5C241A59BA2A}" type="slidenum">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r" defTabSz="818693" rtl="0" eaLnBrk="1" fontAlgn="auto" latinLnBrk="0" hangingPunct="1">
                <a:lnSpc>
                  <a:spcPct val="100000"/>
                </a:lnSpc>
                <a:spcBef>
                  <a:spcPts val="0"/>
                </a:spcBef>
                <a:spcAft>
                  <a:spcPts val="0"/>
                </a:spcAft>
                <a:buClrTx/>
                <a:buSzTx/>
                <a:buFontTx/>
                <a:buNone/>
                <a:tabLst/>
                <a:defRPr/>
              </a:pPr>
              <a:t>8</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 name="Tekstfelt 17"/>
          <p:cNvSpPr txBox="1"/>
          <p:nvPr/>
        </p:nvSpPr>
        <p:spPr>
          <a:xfrm>
            <a:off x="2977138" y="123478"/>
            <a:ext cx="111440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 name="Tekstfelt 21"/>
          <p:cNvSpPr txBox="1"/>
          <p:nvPr/>
        </p:nvSpPr>
        <p:spPr>
          <a:xfrm>
            <a:off x="1316526" y="124058"/>
            <a:ext cx="1459054"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ølger tidsplanen</a:t>
            </a:r>
          </a:p>
        </p:txBody>
      </p:sp>
      <p:graphicFrame>
        <p:nvGraphicFramePr>
          <p:cNvPr id="13" name="Tabel 12"/>
          <p:cNvGraphicFramePr>
            <a:graphicFrameLocks noGrp="1"/>
          </p:cNvGraphicFramePr>
          <p:nvPr>
            <p:extLst/>
          </p:nvPr>
        </p:nvGraphicFramePr>
        <p:xfrm>
          <a:off x="107817" y="577184"/>
          <a:ext cx="8820471" cy="4045556"/>
        </p:xfrm>
        <a:graphic>
          <a:graphicData uri="http://schemas.openxmlformats.org/drawingml/2006/table">
            <a:tbl>
              <a:tblPr firstRow="1" bandRow="1">
                <a:tableStyleId>{5C22544A-7EE6-4342-B048-85BDC9FD1C3A}</a:tableStyleId>
              </a:tblPr>
              <a:tblGrid>
                <a:gridCol w="1868744">
                  <a:extLst>
                    <a:ext uri="{9D8B030D-6E8A-4147-A177-3AD203B41FA5}">
                      <a16:colId xmlns:a16="http://schemas.microsoft.com/office/drawing/2014/main" val="1597883597"/>
                    </a:ext>
                  </a:extLst>
                </a:gridCol>
                <a:gridCol w="823338">
                  <a:extLst>
                    <a:ext uri="{9D8B030D-6E8A-4147-A177-3AD203B41FA5}">
                      <a16:colId xmlns:a16="http://schemas.microsoft.com/office/drawing/2014/main" val="606829951"/>
                    </a:ext>
                  </a:extLst>
                </a:gridCol>
                <a:gridCol w="671657">
                  <a:extLst>
                    <a:ext uri="{9D8B030D-6E8A-4147-A177-3AD203B41FA5}">
                      <a16:colId xmlns:a16="http://schemas.microsoft.com/office/drawing/2014/main" val="87302883"/>
                    </a:ext>
                  </a:extLst>
                </a:gridCol>
                <a:gridCol w="597998">
                  <a:extLst>
                    <a:ext uri="{9D8B030D-6E8A-4147-A177-3AD203B41FA5}">
                      <a16:colId xmlns:a16="http://schemas.microsoft.com/office/drawing/2014/main" val="2738556525"/>
                    </a:ext>
                  </a:extLst>
                </a:gridCol>
                <a:gridCol w="896997">
                  <a:extLst>
                    <a:ext uri="{9D8B030D-6E8A-4147-A177-3AD203B41FA5}">
                      <a16:colId xmlns:a16="http://schemas.microsoft.com/office/drawing/2014/main" val="4087329800"/>
                    </a:ext>
                  </a:extLst>
                </a:gridCol>
                <a:gridCol w="1121246">
                  <a:extLst>
                    <a:ext uri="{9D8B030D-6E8A-4147-A177-3AD203B41FA5}">
                      <a16:colId xmlns:a16="http://schemas.microsoft.com/office/drawing/2014/main" val="1807219806"/>
                    </a:ext>
                  </a:extLst>
                </a:gridCol>
                <a:gridCol w="747497">
                  <a:extLst>
                    <a:ext uri="{9D8B030D-6E8A-4147-A177-3AD203B41FA5}">
                      <a16:colId xmlns:a16="http://schemas.microsoft.com/office/drawing/2014/main" val="77418318"/>
                    </a:ext>
                  </a:extLst>
                </a:gridCol>
                <a:gridCol w="2092994">
                  <a:extLst>
                    <a:ext uri="{9D8B030D-6E8A-4147-A177-3AD203B41FA5}">
                      <a16:colId xmlns:a16="http://schemas.microsoft.com/office/drawing/2014/main" val="624544613"/>
                    </a:ext>
                  </a:extLst>
                </a:gridCol>
              </a:tblGrid>
              <a:tr h="626776">
                <a:tc>
                  <a:txBody>
                    <a:bodyPr/>
                    <a:lstStyle/>
                    <a:p>
                      <a:r>
                        <a:rPr lang="da-DK" sz="900" dirty="0">
                          <a:solidFill>
                            <a:schemeClr val="bg1"/>
                          </a:solidFill>
                        </a:rPr>
                        <a:t>TAU-leverance</a:t>
                      </a:r>
                    </a:p>
                  </a:txBody>
                  <a:tcPr/>
                </a:tc>
                <a:tc>
                  <a:txBody>
                    <a:bodyPr/>
                    <a:lstStyle/>
                    <a:p>
                      <a:r>
                        <a:rPr lang="da-DK" sz="900">
                          <a:solidFill>
                            <a:schemeClr val="bg1"/>
                          </a:solidFill>
                        </a:rPr>
                        <a:t>Status</a:t>
                      </a:r>
                      <a:endParaRPr lang="da-DK" sz="900" b="0" dirty="0">
                        <a:solidFill>
                          <a:schemeClr val="bg1"/>
                        </a:solidFill>
                      </a:endParaRPr>
                    </a:p>
                  </a:txBody>
                  <a:tcPr/>
                </a:tc>
                <a:tc>
                  <a:txBody>
                    <a:bodyPr/>
                    <a:lstStyle/>
                    <a:p>
                      <a:r>
                        <a:rPr lang="da-DK" sz="900">
                          <a:solidFill>
                            <a:schemeClr val="bg1"/>
                          </a:solidFill>
                        </a:rPr>
                        <a:t>Påbegyndes</a:t>
                      </a:r>
                      <a:endParaRPr lang="da-DK" sz="900" dirty="0">
                        <a:solidFill>
                          <a:schemeClr val="bg1"/>
                        </a:solidFill>
                      </a:endParaRPr>
                    </a:p>
                  </a:txBody>
                  <a:tcPr/>
                </a:tc>
                <a:tc>
                  <a:txBody>
                    <a:bodyPr/>
                    <a:lstStyle/>
                    <a:p>
                      <a:r>
                        <a:rPr lang="da-DK" sz="900">
                          <a:solidFill>
                            <a:schemeClr val="bg1"/>
                          </a:solidFill>
                        </a:rPr>
                        <a:t>Afsluttes</a:t>
                      </a:r>
                      <a:endParaRPr lang="da-DK" sz="900" dirty="0">
                        <a:solidFill>
                          <a:schemeClr val="bg1"/>
                        </a:solidFill>
                      </a:endParaRPr>
                    </a:p>
                  </a:txBody>
                  <a:tcPr/>
                </a:tc>
                <a:tc>
                  <a:txBody>
                    <a:bodyPr/>
                    <a:lstStyle/>
                    <a:p>
                      <a:r>
                        <a:rPr lang="da-DK" sz="900">
                          <a:solidFill>
                            <a:schemeClr val="bg1"/>
                          </a:solidFill>
                        </a:rPr>
                        <a:t>Ansvarlig aktør (tovholder)</a:t>
                      </a:r>
                      <a:endParaRPr lang="da-DK" sz="900" dirty="0">
                        <a:solidFill>
                          <a:schemeClr val="bg1"/>
                        </a:solidFill>
                      </a:endParaRP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a:solidFill>
                            <a:schemeClr val="bg1"/>
                          </a:solidFill>
                        </a:rPr>
                        <a:t>Målsætning</a:t>
                      </a:r>
                      <a:endParaRPr lang="da-DK" sz="900" dirty="0">
                        <a:solidFill>
                          <a:schemeClr val="bg1"/>
                        </a:solidFill>
                      </a:endParaRPr>
                    </a:p>
                  </a:txBody>
                  <a:tcPr/>
                </a:tc>
                <a:tc>
                  <a:txBody>
                    <a:bodyPr/>
                    <a:lstStyle/>
                    <a:p>
                      <a:r>
                        <a:rPr lang="da-DK" sz="900">
                          <a:solidFill>
                            <a:schemeClr val="bg1"/>
                          </a:solidFill>
                        </a:rPr>
                        <a:t>Fremdrift</a:t>
                      </a:r>
                      <a:endParaRPr lang="da-DK" sz="900" dirty="0">
                        <a:solidFill>
                          <a:schemeClr val="bg1"/>
                        </a:solidFill>
                      </a:endParaRPr>
                    </a:p>
                  </a:txBody>
                  <a:tcPr/>
                </a:tc>
                <a:extLst>
                  <a:ext uri="{0D108BD9-81ED-4DB2-BD59-A6C34878D82A}">
                    <a16:rowId xmlns:a16="http://schemas.microsoft.com/office/drawing/2014/main" val="3646691106"/>
                  </a:ext>
                </a:extLst>
              </a:tr>
              <a:tr h="117758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latin typeface="+mn-lt"/>
                          <a:cs typeface="Calibri" panose="020F0502020204030204" pitchFamily="34" charset="0"/>
                        </a:rPr>
                        <a:t>(11). Redegørelse for igangværende EU-initiativer </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b="1" dirty="0">
                        <a:solidFill>
                          <a:schemeClr val="tx1"/>
                        </a:solidFill>
                        <a:latin typeface="+mn-lt"/>
                        <a:cs typeface="Calibri" panose="020F0502020204030204" pitchFamily="34" charset="0"/>
                      </a:endParaRP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1 2025</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FFD-møde</a:t>
                      </a:r>
                      <a:br>
                        <a:rPr lang="da-DK" sz="900" dirty="0">
                          <a:latin typeface="+mn-lt"/>
                          <a:cs typeface="Calibri" panose="020F0502020204030204" pitchFamily="34" charset="0"/>
                        </a:rPr>
                      </a:br>
                      <a:r>
                        <a:rPr lang="da-DK" sz="900" dirty="0">
                          <a:latin typeface="+mn-lt"/>
                          <a:cs typeface="Calibri" panose="020F0502020204030204" pitchFamily="34" charset="0"/>
                        </a:rPr>
                        <a:t>(28. maj 2025)</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Lea Schick, Alexandra instituttet </a:t>
                      </a:r>
                    </a:p>
                    <a:p>
                      <a:pPr marL="0" marR="0" lvl="0" indent="0" algn="l" defTabSz="818693"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a:p>
                      <a:endParaRPr lang="da-DK" sz="900" dirty="0">
                        <a:solidFill>
                          <a:schemeClr val="tx1"/>
                        </a:solidFill>
                      </a:endParaRPr>
                    </a:p>
                  </a:txBody>
                  <a:tcPr/>
                </a:tc>
                <a:tc>
                  <a:txBody>
                    <a:bodyPr/>
                    <a:lstStyle/>
                    <a:p>
                      <a:r>
                        <a:rPr lang="da-DK" sz="900" dirty="0">
                          <a:solidFill>
                            <a:schemeClr val="tx1"/>
                          </a:solidFill>
                          <a:latin typeface="+mn-lt"/>
                          <a:cs typeface="Calibri" panose="020F0502020204030204" pitchFamily="34" charset="0"/>
                        </a:rPr>
                        <a:t>Arbejdsspor 4 vedr. EU  og det internationale</a:t>
                      </a:r>
                    </a:p>
                  </a:txBody>
                  <a:tcPr/>
                </a:tc>
                <a:tc>
                  <a:txBody>
                    <a:bodyPr/>
                    <a:lstStyle/>
                    <a:p>
                      <a:r>
                        <a:rPr lang="da-DK" sz="900" dirty="0">
                          <a:solidFill>
                            <a:schemeClr val="tx1"/>
                          </a:solidFill>
                        </a:rPr>
                        <a:t>1,2 </a:t>
                      </a: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t>Arbejdssporet mødes 3-4 gange om året og afrapporterer til TAU om igangværende projekter og initiativer vedr. EU og det Internationale. Gruppen fungerer som et ekspertorgan og står til rådighed ved leverancearbejde, hvor spørgsmål om EU-</a:t>
                      </a:r>
                      <a:r>
                        <a:rPr lang="da-DK" sz="800" dirty="0" err="1"/>
                        <a:t>dagsordnen</a:t>
                      </a:r>
                      <a:r>
                        <a:rPr lang="da-DK" sz="800" dirty="0"/>
                        <a:t> kan opstå.</a:t>
                      </a:r>
                      <a:endParaRPr lang="da-DK" sz="800" dirty="0">
                        <a:solidFill>
                          <a:schemeClr val="tx1"/>
                        </a:solidFill>
                      </a:endParaRPr>
                    </a:p>
                  </a:txBody>
                  <a:tcPr/>
                </a:tc>
                <a:extLst>
                  <a:ext uri="{0D108BD9-81ED-4DB2-BD59-A6C34878D82A}">
                    <a16:rowId xmlns:a16="http://schemas.microsoft.com/office/drawing/2014/main" val="2614809727"/>
                  </a:ext>
                </a:extLst>
              </a:tr>
              <a:tr h="2241200">
                <a:tc>
                  <a:txBody>
                    <a:bodyPr/>
                    <a:lstStyle/>
                    <a:p>
                      <a:pPr marL="0" marR="0" lvl="0" indent="0" algn="l" defTabSz="818693" rtl="0" eaLnBrk="1" fontAlgn="auto" latinLnBrk="0" hangingPunct="1">
                        <a:lnSpc>
                          <a:spcPct val="107000"/>
                        </a:lnSpc>
                        <a:spcBef>
                          <a:spcPts val="0"/>
                        </a:spcBef>
                        <a:spcAft>
                          <a:spcPts val="500"/>
                        </a:spcAft>
                        <a:buClrTx/>
                        <a:buSzTx/>
                        <a:buFontTx/>
                        <a:buNone/>
                        <a:tabLst>
                          <a:tab pos="6113780" algn="r"/>
                        </a:tabLst>
                        <a:defRPr/>
                      </a:pPr>
                      <a:r>
                        <a:rPr lang="da-DK" sz="900" dirty="0">
                          <a:solidFill>
                            <a:schemeClr val="tx1"/>
                          </a:solidFill>
                          <a:latin typeface="+mn-lt"/>
                          <a:cs typeface="Calibri" panose="020F0502020204030204" pitchFamily="34" charset="0"/>
                        </a:rPr>
                        <a:t>12. Analyse af mulige gevinster ved bredere adgang til BBR-energiforbrugsdata.</a:t>
                      </a: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1 2025</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1 2026</a:t>
                      </a:r>
                      <a:br>
                        <a:rPr lang="da-DK" sz="900" dirty="0">
                          <a:latin typeface="+mn-lt"/>
                          <a:cs typeface="Calibri" panose="020F0502020204030204" pitchFamily="34" charset="0"/>
                        </a:rPr>
                      </a:br>
                      <a:r>
                        <a:rPr lang="da-DK" sz="900" dirty="0">
                          <a:latin typeface="+mn-lt"/>
                          <a:cs typeface="Calibri" panose="020F0502020204030204" pitchFamily="34" charset="0"/>
                        </a:rPr>
                        <a:t>(11. marts 2026)</a:t>
                      </a:r>
                    </a:p>
                    <a:p>
                      <a:endParaRPr lang="da-DK" sz="900" dirty="0">
                        <a:solidFill>
                          <a:schemeClr val="tx1"/>
                        </a:solidFill>
                      </a:endParaRPr>
                    </a:p>
                  </a:txBody>
                  <a:tcPr/>
                </a:tc>
                <a:tc>
                  <a:txBody>
                    <a:bodyPr/>
                    <a:lstStyle/>
                    <a:p>
                      <a:r>
                        <a:rPr lang="da-DK" sz="900" dirty="0">
                          <a:solidFill>
                            <a:schemeClr val="tx1"/>
                          </a:solidFill>
                          <a:latin typeface="+mn-lt"/>
                          <a:cs typeface="Calibri" panose="020F0502020204030204" pitchFamily="34" charset="0"/>
                        </a:rPr>
                        <a:t>Arbejdsspor vedr. BBR forbrugsdata</a:t>
                      </a:r>
                    </a:p>
                    <a:p>
                      <a:endParaRPr lang="da-DK" sz="900" dirty="0">
                        <a:solidFill>
                          <a:schemeClr val="tx1"/>
                        </a:solidFill>
                      </a:endParaRPr>
                    </a:p>
                  </a:txBody>
                  <a:tcPr/>
                </a:tc>
                <a:tc>
                  <a:txBody>
                    <a:bodyPr/>
                    <a:lstStyle/>
                    <a:p>
                      <a:r>
                        <a:rPr lang="da-DK" sz="900" dirty="0">
                          <a:solidFill>
                            <a:schemeClr val="tx1"/>
                          </a:solidFill>
                          <a:latin typeface="+mn-lt"/>
                          <a:cs typeface="Calibri" panose="020F0502020204030204" pitchFamily="34" charset="0"/>
                        </a:rPr>
                        <a:t>Arbejdsspor 3 vedr. sikker dataudveksling og anvendelse</a:t>
                      </a:r>
                    </a:p>
                  </a:txBody>
                  <a:tcPr/>
                </a:tc>
                <a:tc>
                  <a:txBody>
                    <a:bodyPr/>
                    <a:lstStyle/>
                    <a:p>
                      <a:r>
                        <a:rPr lang="da-DK" sz="900" dirty="0">
                          <a:latin typeface="+mn-lt"/>
                          <a:cs typeface="Calibri" panose="020F0502020204030204" pitchFamily="34" charset="0"/>
                        </a:rPr>
                        <a:t>2,6</a:t>
                      </a:r>
                      <a:endParaRPr lang="da-DK" sz="900" dirty="0">
                        <a:solidFill>
                          <a:schemeClr val="tx1"/>
                        </a:solidFill>
                      </a:endParaRPr>
                    </a:p>
                  </a:txBody>
                  <a:tcPr/>
                </a:tc>
                <a:tc>
                  <a:txBody>
                    <a:bodyPr/>
                    <a:lstStyle/>
                    <a:p>
                      <a:pPr marL="0" indent="0">
                        <a:buFont typeface="Arial" panose="020B0604020202020204" pitchFamily="34" charset="0"/>
                        <a:buNone/>
                      </a:pPr>
                      <a:r>
                        <a:rPr lang="da-DK" sz="800" kern="1200" dirty="0">
                          <a:solidFill>
                            <a:schemeClr val="dk1"/>
                          </a:solidFill>
                          <a:latin typeface="+mn-lt"/>
                          <a:ea typeface="+mn-ea"/>
                          <a:cs typeface="+mn-cs"/>
                        </a:rPr>
                        <a:t>Der er indsamlet </a:t>
                      </a:r>
                      <a:r>
                        <a:rPr lang="da-DK" sz="800" kern="1200" dirty="0" err="1">
                          <a:solidFill>
                            <a:schemeClr val="dk1"/>
                          </a:solidFill>
                          <a:latin typeface="+mn-lt"/>
                          <a:ea typeface="+mn-ea"/>
                          <a:cs typeface="+mn-cs"/>
                        </a:rPr>
                        <a:t>use</a:t>
                      </a:r>
                      <a:r>
                        <a:rPr lang="da-DK" sz="800" kern="1200" dirty="0">
                          <a:solidFill>
                            <a:schemeClr val="dk1"/>
                          </a:solidFill>
                          <a:latin typeface="+mn-lt"/>
                          <a:ea typeface="+mn-ea"/>
                          <a:cs typeface="+mn-cs"/>
                        </a:rPr>
                        <a:t> cases. Dette gælder både for frisættelse af data, men også for generelt at kunne give lettere og hurtigere adgang til data uagtet om data frisættes. Næste skridt er at samle alle cases i et skriftligt produkt.</a:t>
                      </a:r>
                    </a:p>
                    <a:p>
                      <a:pPr marL="0" indent="0">
                        <a:buFont typeface="Arial" panose="020B0604020202020204" pitchFamily="34" charset="0"/>
                        <a:buNone/>
                      </a:pPr>
                      <a:r>
                        <a:rPr lang="da-DK" sz="800" kern="1200" dirty="0">
                          <a:solidFill>
                            <a:schemeClr val="dk1"/>
                          </a:solidFill>
                          <a:latin typeface="+mn-lt"/>
                          <a:ea typeface="+mn-ea"/>
                          <a:cs typeface="+mn-cs"/>
                        </a:rPr>
                        <a:t>Der arbejdes ligeledes for at redegøre for GDPR-relaterede problematikker ift. frisættelse af årligt energiforbrug og hvordan lovgivningen vil kunne understøtte en datafrisættelse.</a:t>
                      </a:r>
                    </a:p>
                    <a:p>
                      <a:pPr marL="0" indent="0">
                        <a:buFont typeface="Arial" panose="020B0604020202020204" pitchFamily="34" charset="0"/>
                        <a:buNone/>
                      </a:pPr>
                      <a:r>
                        <a:rPr lang="da-DK" sz="800" kern="1200" dirty="0">
                          <a:solidFill>
                            <a:schemeClr val="dk1"/>
                          </a:solidFill>
                          <a:latin typeface="+mn-lt"/>
                          <a:ea typeface="+mn-ea"/>
                          <a:cs typeface="+mn-cs"/>
                        </a:rPr>
                        <a:t>Der sættes også gang i arbejdet med at udarbejde forslag til</a:t>
                      </a:r>
                      <a:r>
                        <a:rPr lang="da-DK" sz="800" kern="1200" dirty="0">
                          <a:solidFill>
                            <a:srgbClr val="FF0000"/>
                          </a:solidFill>
                          <a:latin typeface="+mn-lt"/>
                          <a:ea typeface="+mn-ea"/>
                          <a:cs typeface="+mn-cs"/>
                        </a:rPr>
                        <a:t> </a:t>
                      </a:r>
                      <a:r>
                        <a:rPr lang="da-DK" sz="800" kern="1200" dirty="0">
                          <a:solidFill>
                            <a:schemeClr val="dk1"/>
                          </a:solidFill>
                          <a:latin typeface="+mn-lt"/>
                          <a:ea typeface="+mn-ea"/>
                          <a:cs typeface="+mn-cs"/>
                        </a:rPr>
                        <a:t>tekniske løsninger for adgang til energiforbrugsdata.</a:t>
                      </a:r>
                      <a:endParaRPr lang="da-DK" sz="800" kern="1200" dirty="0">
                        <a:solidFill>
                          <a:srgbClr val="FF0000"/>
                        </a:solidFill>
                        <a:latin typeface="+mn-lt"/>
                        <a:ea typeface="+mn-ea"/>
                        <a:cs typeface="+mn-cs"/>
                      </a:endParaRPr>
                    </a:p>
                  </a:txBody>
                  <a:tcPr/>
                </a:tc>
                <a:extLst>
                  <a:ext uri="{0D108BD9-81ED-4DB2-BD59-A6C34878D82A}">
                    <a16:rowId xmlns:a16="http://schemas.microsoft.com/office/drawing/2014/main" val="1164482757"/>
                  </a:ext>
                </a:extLst>
              </a:tr>
            </a:tbl>
          </a:graphicData>
        </a:graphic>
      </p:graphicFrame>
      <p:pic>
        <p:nvPicPr>
          <p:cNvPr id="5" name="Billede 4">
            <a:extLst>
              <a:ext uri="{FF2B5EF4-FFF2-40B4-BE49-F238E27FC236}">
                <a16:creationId xmlns:a16="http://schemas.microsoft.com/office/drawing/2014/main" id="{4E483BF4-FE2D-463F-AF3E-B27860D2632B}"/>
              </a:ext>
            </a:extLst>
          </p:cNvPr>
          <p:cNvPicPr>
            <a:picLocks noChangeAspect="1"/>
          </p:cNvPicPr>
          <p:nvPr/>
        </p:nvPicPr>
        <p:blipFill>
          <a:blip r:embed="rId2"/>
          <a:stretch>
            <a:fillRect/>
          </a:stretch>
        </p:blipFill>
        <p:spPr>
          <a:xfrm>
            <a:off x="137598" y="4713425"/>
            <a:ext cx="1438476" cy="333204"/>
          </a:xfrm>
          <a:prstGeom prst="rect">
            <a:avLst/>
          </a:prstGeom>
        </p:spPr>
      </p:pic>
    </p:spTree>
    <p:extLst>
      <p:ext uri="{BB962C8B-B14F-4D97-AF65-F5344CB8AC3E}">
        <p14:creationId xmlns:p14="http://schemas.microsoft.com/office/powerpoint/2010/main" val="98962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pPr marL="0" marR="0" lvl="0" indent="0" algn="l" defTabSz="818693" rtl="0" eaLnBrk="1" fontAlgn="auto" latinLnBrk="0" hangingPunct="1">
              <a:lnSpc>
                <a:spcPct val="100000"/>
              </a:lnSpc>
              <a:spcBef>
                <a:spcPts val="0"/>
              </a:spcBef>
              <a:spcAft>
                <a:spcPts val="0"/>
              </a:spcAft>
              <a:buClrTx/>
              <a:buSzTx/>
              <a:buFontTx/>
              <a:buNone/>
              <a:tabLst/>
              <a:defRPr/>
            </a:pPr>
            <a:fld id="{D6C43E05-5416-43CC-9354-A0F970D8A001}" type="datetime2">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l" defTabSz="818693" rtl="0" eaLnBrk="1" fontAlgn="auto" latinLnBrk="0" hangingPunct="1">
                <a:lnSpc>
                  <a:spcPct val="100000"/>
                </a:lnSpc>
                <a:spcBef>
                  <a:spcPts val="0"/>
                </a:spcBef>
                <a:spcAft>
                  <a:spcPts val="0"/>
                </a:spcAft>
                <a:buClrTx/>
                <a:buSzTx/>
                <a:buFontTx/>
                <a:buNone/>
                <a:tabLst/>
                <a:defRPr/>
              </a:pPr>
              <a:t>17. september 2025</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 name="Pladsholder til slidenummer 2"/>
          <p:cNvSpPr>
            <a:spLocks noGrp="1"/>
          </p:cNvSpPr>
          <p:nvPr>
            <p:ph type="sldNum" sz="quarter" idx="17"/>
          </p:nvPr>
        </p:nvSpPr>
        <p:spPr/>
        <p:txBody>
          <a:bodyPr/>
          <a:lstStyle/>
          <a:p>
            <a:pPr marL="0" marR="0" lvl="0" indent="0" algn="r" defTabSz="818693"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ide </a:t>
            </a:r>
            <a:fld id="{8E044AEF-F590-47CE-BE8F-5C241A59BA2A}" type="slidenum">
              <a:rPr kumimoji="0" lang="da-DK" sz="600" b="0" i="0" u="none" strike="noStrike" kern="1200" cap="none" spc="0" normalizeH="0" baseline="0" noProof="0" smtClean="0">
                <a:ln>
                  <a:noFill/>
                </a:ln>
                <a:solidFill>
                  <a:srgbClr val="000000"/>
                </a:solidFill>
                <a:effectLst/>
                <a:uLnTx/>
                <a:uFillTx/>
                <a:latin typeface="Segoe UI Semilight" panose="020B0402040204020203" pitchFamily="34" charset="0"/>
                <a:ea typeface="+mn-ea"/>
                <a:cs typeface="Segoe UI Semilight" panose="020B0402040204020203" pitchFamily="34" charset="0"/>
              </a:rPr>
              <a:pPr marL="0" marR="0" lvl="0" indent="0" algn="r" defTabSz="818693" rtl="0" eaLnBrk="1" fontAlgn="auto" latinLnBrk="0" hangingPunct="1">
                <a:lnSpc>
                  <a:spcPct val="100000"/>
                </a:lnSpc>
                <a:spcBef>
                  <a:spcPts val="0"/>
                </a:spcBef>
                <a:spcAft>
                  <a:spcPts val="0"/>
                </a:spcAft>
                <a:buClrTx/>
                <a:buSzTx/>
                <a:buFontTx/>
                <a:buNone/>
                <a:tabLst/>
                <a:defRPr/>
              </a:pPr>
              <a:t>9</a:t>
            </a:fld>
            <a:endParaRPr kumimoji="0" lang="da-DK" sz="6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 name="Tekstfelt 17"/>
          <p:cNvSpPr txBox="1"/>
          <p:nvPr/>
        </p:nvSpPr>
        <p:spPr>
          <a:xfrm>
            <a:off x="2977138" y="123478"/>
            <a:ext cx="111440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 name="Tekstfelt 21"/>
          <p:cNvSpPr txBox="1"/>
          <p:nvPr/>
        </p:nvSpPr>
        <p:spPr>
          <a:xfrm>
            <a:off x="1316526" y="124058"/>
            <a:ext cx="1459054" cy="215444"/>
          </a:xfrm>
          <a:prstGeom prst="rect">
            <a:avLst/>
          </a:prstGeom>
          <a:noFill/>
        </p:spPr>
        <p:txBody>
          <a:bodyPr wrap="non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følger tidsplanen</a:t>
            </a:r>
          </a:p>
        </p:txBody>
      </p:sp>
      <p:graphicFrame>
        <p:nvGraphicFramePr>
          <p:cNvPr id="13" name="Tabel 12"/>
          <p:cNvGraphicFramePr>
            <a:graphicFrameLocks noGrp="1"/>
          </p:cNvGraphicFramePr>
          <p:nvPr>
            <p:extLst/>
          </p:nvPr>
        </p:nvGraphicFramePr>
        <p:xfrm>
          <a:off x="190138" y="649308"/>
          <a:ext cx="8532439" cy="2786538"/>
        </p:xfrm>
        <a:graphic>
          <a:graphicData uri="http://schemas.openxmlformats.org/drawingml/2006/table">
            <a:tbl>
              <a:tblPr firstRow="1" bandRow="1">
                <a:tableStyleId>{5C22544A-7EE6-4342-B048-85BDC9FD1C3A}</a:tableStyleId>
              </a:tblPr>
              <a:tblGrid>
                <a:gridCol w="1807720">
                  <a:extLst>
                    <a:ext uri="{9D8B030D-6E8A-4147-A177-3AD203B41FA5}">
                      <a16:colId xmlns:a16="http://schemas.microsoft.com/office/drawing/2014/main" val="1597883597"/>
                    </a:ext>
                  </a:extLst>
                </a:gridCol>
                <a:gridCol w="796452">
                  <a:extLst>
                    <a:ext uri="{9D8B030D-6E8A-4147-A177-3AD203B41FA5}">
                      <a16:colId xmlns:a16="http://schemas.microsoft.com/office/drawing/2014/main" val="606829951"/>
                    </a:ext>
                  </a:extLst>
                </a:gridCol>
                <a:gridCol w="649724">
                  <a:extLst>
                    <a:ext uri="{9D8B030D-6E8A-4147-A177-3AD203B41FA5}">
                      <a16:colId xmlns:a16="http://schemas.microsoft.com/office/drawing/2014/main" val="87302883"/>
                    </a:ext>
                  </a:extLst>
                </a:gridCol>
                <a:gridCol w="578470">
                  <a:extLst>
                    <a:ext uri="{9D8B030D-6E8A-4147-A177-3AD203B41FA5}">
                      <a16:colId xmlns:a16="http://schemas.microsoft.com/office/drawing/2014/main" val="2738556525"/>
                    </a:ext>
                  </a:extLst>
                </a:gridCol>
                <a:gridCol w="867705">
                  <a:extLst>
                    <a:ext uri="{9D8B030D-6E8A-4147-A177-3AD203B41FA5}">
                      <a16:colId xmlns:a16="http://schemas.microsoft.com/office/drawing/2014/main" val="4087329800"/>
                    </a:ext>
                  </a:extLst>
                </a:gridCol>
                <a:gridCol w="1084632">
                  <a:extLst>
                    <a:ext uri="{9D8B030D-6E8A-4147-A177-3AD203B41FA5}">
                      <a16:colId xmlns:a16="http://schemas.microsoft.com/office/drawing/2014/main" val="1807219806"/>
                    </a:ext>
                  </a:extLst>
                </a:gridCol>
                <a:gridCol w="723088">
                  <a:extLst>
                    <a:ext uri="{9D8B030D-6E8A-4147-A177-3AD203B41FA5}">
                      <a16:colId xmlns:a16="http://schemas.microsoft.com/office/drawing/2014/main" val="77418318"/>
                    </a:ext>
                  </a:extLst>
                </a:gridCol>
                <a:gridCol w="2024648">
                  <a:extLst>
                    <a:ext uri="{9D8B030D-6E8A-4147-A177-3AD203B41FA5}">
                      <a16:colId xmlns:a16="http://schemas.microsoft.com/office/drawing/2014/main" val="624544613"/>
                    </a:ext>
                  </a:extLst>
                </a:gridCol>
              </a:tblGrid>
              <a:tr h="634480">
                <a:tc>
                  <a:txBody>
                    <a:bodyPr/>
                    <a:lstStyle/>
                    <a:p>
                      <a:r>
                        <a:rPr lang="da-DK" sz="900" dirty="0">
                          <a:solidFill>
                            <a:schemeClr val="bg1"/>
                          </a:solidFill>
                        </a:rPr>
                        <a:t>TAU-leverance</a:t>
                      </a:r>
                    </a:p>
                  </a:txBody>
                  <a:tcPr/>
                </a:tc>
                <a:tc>
                  <a:txBody>
                    <a:bodyPr/>
                    <a:lstStyle/>
                    <a:p>
                      <a:r>
                        <a:rPr lang="da-DK" sz="900">
                          <a:solidFill>
                            <a:schemeClr val="bg1"/>
                          </a:solidFill>
                        </a:rPr>
                        <a:t>Status</a:t>
                      </a:r>
                      <a:endParaRPr lang="da-DK" sz="900" b="0" dirty="0">
                        <a:solidFill>
                          <a:schemeClr val="bg1"/>
                        </a:solidFill>
                      </a:endParaRPr>
                    </a:p>
                  </a:txBody>
                  <a:tcPr/>
                </a:tc>
                <a:tc>
                  <a:txBody>
                    <a:bodyPr/>
                    <a:lstStyle/>
                    <a:p>
                      <a:r>
                        <a:rPr lang="da-DK" sz="900">
                          <a:solidFill>
                            <a:schemeClr val="bg1"/>
                          </a:solidFill>
                        </a:rPr>
                        <a:t>Påbegyndes</a:t>
                      </a:r>
                      <a:endParaRPr lang="da-DK" sz="900" dirty="0">
                        <a:solidFill>
                          <a:schemeClr val="bg1"/>
                        </a:solidFill>
                      </a:endParaRPr>
                    </a:p>
                  </a:txBody>
                  <a:tcPr/>
                </a:tc>
                <a:tc>
                  <a:txBody>
                    <a:bodyPr/>
                    <a:lstStyle/>
                    <a:p>
                      <a:r>
                        <a:rPr lang="da-DK" sz="900">
                          <a:solidFill>
                            <a:schemeClr val="bg1"/>
                          </a:solidFill>
                        </a:rPr>
                        <a:t>Afsluttes</a:t>
                      </a:r>
                      <a:endParaRPr lang="da-DK" sz="900" dirty="0">
                        <a:solidFill>
                          <a:schemeClr val="bg1"/>
                        </a:solidFill>
                      </a:endParaRPr>
                    </a:p>
                  </a:txBody>
                  <a:tcPr/>
                </a:tc>
                <a:tc>
                  <a:txBody>
                    <a:bodyPr/>
                    <a:lstStyle/>
                    <a:p>
                      <a:r>
                        <a:rPr lang="da-DK" sz="900">
                          <a:solidFill>
                            <a:schemeClr val="bg1"/>
                          </a:solidFill>
                        </a:rPr>
                        <a:t>Ansvarlig aktør (tovholder)</a:t>
                      </a:r>
                      <a:endParaRPr lang="da-DK" sz="900" dirty="0">
                        <a:solidFill>
                          <a:schemeClr val="bg1"/>
                        </a:solidFill>
                      </a:endParaRP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a:solidFill>
                            <a:schemeClr val="bg1"/>
                          </a:solidFill>
                        </a:rPr>
                        <a:t>Målsætning</a:t>
                      </a:r>
                      <a:endParaRPr lang="da-DK" sz="900" dirty="0">
                        <a:solidFill>
                          <a:schemeClr val="bg1"/>
                        </a:solidFill>
                      </a:endParaRPr>
                    </a:p>
                  </a:txBody>
                  <a:tcPr/>
                </a:tc>
                <a:tc>
                  <a:txBody>
                    <a:bodyPr/>
                    <a:lstStyle/>
                    <a:p>
                      <a:r>
                        <a:rPr lang="da-DK" sz="900">
                          <a:solidFill>
                            <a:schemeClr val="bg1"/>
                          </a:solidFill>
                        </a:rPr>
                        <a:t>Fremdrift</a:t>
                      </a:r>
                      <a:endParaRPr lang="da-DK" sz="900" dirty="0">
                        <a:solidFill>
                          <a:schemeClr val="bg1"/>
                        </a:solidFill>
                      </a:endParaRPr>
                    </a:p>
                  </a:txBody>
                  <a:tcPr/>
                </a:tc>
                <a:extLst>
                  <a:ext uri="{0D108BD9-81ED-4DB2-BD59-A6C34878D82A}">
                    <a16:rowId xmlns:a16="http://schemas.microsoft.com/office/drawing/2014/main" val="3646691106"/>
                  </a:ext>
                </a:extLst>
              </a:tr>
              <a:tr h="2152058">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rPr>
                        <a:t>13. </a:t>
                      </a:r>
                      <a:r>
                        <a:rPr lang="da-DK" sz="900" baseline="0" dirty="0">
                          <a:solidFill>
                            <a:schemeClr val="tx1"/>
                          </a:solidFill>
                          <a:latin typeface="+mn-lt"/>
                          <a:cs typeface="Calibri" panose="020F0502020204030204" pitchFamily="34" charset="0"/>
                        </a:rPr>
                        <a:t>Fælles byggeblokke og standarder for forsyningsområdet</a:t>
                      </a:r>
                      <a:endParaRPr lang="da-DK" sz="900" dirty="0">
                        <a:solidFill>
                          <a:schemeClr val="tx1"/>
                        </a:solidFill>
                        <a:latin typeface="+mn-lt"/>
                        <a:cs typeface="Calibri" panose="020F0502020204030204" pitchFamily="34" charset="0"/>
                      </a:endParaRP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ffectLst/>
                        <a:latin typeface="+mn-lt"/>
                        <a:ea typeface="Calibri" panose="020F0502020204030204" pitchFamily="34" charset="0"/>
                        <a:cs typeface="Calibri" panose="020F0502020204030204" pitchFamily="34" charset="0"/>
                      </a:endParaRPr>
                    </a:p>
                  </a:txBody>
                  <a:tcPr/>
                </a:tc>
                <a:tc>
                  <a:txBody>
                    <a:bodyPr/>
                    <a:lstStyle/>
                    <a:p>
                      <a:endParaRPr lang="da-DK" sz="900" dirty="0">
                        <a:solidFill>
                          <a:schemeClr val="tx1"/>
                        </a:solidFill>
                      </a:endParaRPr>
                    </a:p>
                  </a:txBody>
                  <a:tcPr>
                    <a:solidFill>
                      <a:srgbClr val="00B050"/>
                    </a:solidFill>
                  </a:tcPr>
                </a:tc>
                <a:tc>
                  <a:txBody>
                    <a:bodyPr/>
                    <a:lstStyle/>
                    <a:p>
                      <a:r>
                        <a:rPr lang="da-DK" sz="900" dirty="0">
                          <a:latin typeface="+mn-lt"/>
                          <a:cs typeface="Calibri" panose="020F0502020204030204" pitchFamily="34" charset="0"/>
                        </a:rPr>
                        <a:t>Q1 2026</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r>
                        <a:rPr lang="da-DK" sz="900" dirty="0">
                          <a:latin typeface="+mn-lt"/>
                          <a:cs typeface="Calibri" panose="020F0502020204030204" pitchFamily="34" charset="0"/>
                        </a:rPr>
                        <a:t>Q1 2026</a:t>
                      </a:r>
                      <a:br>
                        <a:rPr lang="da-DK" sz="900" dirty="0">
                          <a:latin typeface="+mn-lt"/>
                          <a:cs typeface="Calibri" panose="020F0502020204030204" pitchFamily="34" charset="0"/>
                        </a:rPr>
                      </a:br>
                      <a:r>
                        <a:rPr lang="da-DK" sz="900" dirty="0">
                          <a:latin typeface="+mn-lt"/>
                          <a:cs typeface="Calibri" panose="020F0502020204030204" pitchFamily="34" charset="0"/>
                        </a:rPr>
                        <a:t>(11. marts 2026)</a:t>
                      </a:r>
                      <a:br>
                        <a:rPr lang="da-DK" sz="900" dirty="0">
                          <a:latin typeface="+mn-lt"/>
                          <a:cs typeface="Calibri" panose="020F0502020204030204" pitchFamily="34" charset="0"/>
                        </a:rPr>
                      </a:br>
                      <a:endParaRPr lang="da-DK" sz="900" dirty="0">
                        <a:latin typeface="+mn-lt"/>
                        <a:cs typeface="Calibri" panose="020F0502020204030204" pitchFamily="34" charset="0"/>
                      </a:endParaRPr>
                    </a:p>
                    <a:p>
                      <a:endParaRPr lang="da-DK" sz="900" dirty="0">
                        <a:solidFill>
                          <a:schemeClr val="tx1"/>
                        </a:solidFill>
                      </a:endParaRPr>
                    </a:p>
                  </a:txBody>
                  <a:tcPr/>
                </a:tc>
                <a:tc>
                  <a:txBody>
                    <a:bodyPr/>
                    <a:lstStyle/>
                    <a:p>
                      <a:r>
                        <a:rPr lang="da-DK" sz="900" dirty="0">
                          <a:latin typeface="+mn-lt"/>
                          <a:cs typeface="Calibri" panose="020F0502020204030204" pitchFamily="34" charset="0"/>
                        </a:rPr>
                        <a:t>Klimadatastyrelsen</a:t>
                      </a:r>
                    </a:p>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Arbejdsspor 1 vedr. dataøkosystem og sektorkobling. </a:t>
                      </a:r>
                    </a:p>
                    <a:p>
                      <a:endParaRPr lang="da-DK" sz="900" dirty="0">
                        <a:solidFill>
                          <a:schemeClr val="tx1"/>
                        </a:solidFill>
                        <a:latin typeface="+mn-lt"/>
                        <a:cs typeface="Calibri" panose="020F0502020204030204" pitchFamily="34" charset="0"/>
                      </a:endParaRPr>
                    </a:p>
                  </a:txBody>
                  <a:tcPr/>
                </a:tc>
                <a:tc>
                  <a:txBody>
                    <a:bodyPr/>
                    <a:lstStyle/>
                    <a:p>
                      <a:r>
                        <a:rPr lang="da-DK" sz="900" dirty="0">
                          <a:solidFill>
                            <a:schemeClr val="tx1"/>
                          </a:solidFill>
                        </a:rPr>
                        <a:t>2</a:t>
                      </a: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solidFill>
                            <a:schemeClr val="tx1"/>
                          </a:solidFill>
                        </a:rPr>
                        <a:t>Der er nedsat en arbejdsgruppe og indkaldt til 3 workshops i løbet af efteråret.</a:t>
                      </a:r>
                    </a:p>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solidFill>
                            <a:schemeClr val="tx1"/>
                          </a:solidFill>
                        </a:rPr>
                        <a:t>Formålet med leverancen er at udarbejde et fælles overblik over byggeblokke i forsyningssektoren. Her vil indgå nuværende retningslinjer udarbejdet i FDP, byggeblokke fra </a:t>
                      </a:r>
                      <a:r>
                        <a:rPr lang="da-DK" sz="800" dirty="0" err="1">
                          <a:solidFill>
                            <a:schemeClr val="tx1"/>
                          </a:solidFill>
                        </a:rPr>
                        <a:t>FDA’en</a:t>
                      </a:r>
                      <a:r>
                        <a:rPr lang="da-DK" sz="800" dirty="0">
                          <a:solidFill>
                            <a:schemeClr val="tx1"/>
                          </a:solidFill>
                        </a:rPr>
                        <a:t> med relevans for forsyningsområdet samt relevante internationale og europæiske byggeblokke. Formålet er at øge ensretning i digitaliseringstiltag, når der opdateres eller bygges nyt på forsyningsområdet.  </a:t>
                      </a:r>
                    </a:p>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800" dirty="0"/>
                    </a:p>
                  </a:txBody>
                  <a:tcPr/>
                </a:tc>
                <a:extLst>
                  <a:ext uri="{0D108BD9-81ED-4DB2-BD59-A6C34878D82A}">
                    <a16:rowId xmlns:a16="http://schemas.microsoft.com/office/drawing/2014/main" val="1663565517"/>
                  </a:ext>
                </a:extLst>
              </a:tr>
            </a:tbl>
          </a:graphicData>
        </a:graphic>
      </p:graphicFrame>
      <p:pic>
        <p:nvPicPr>
          <p:cNvPr id="4" name="Billede 3">
            <a:extLst>
              <a:ext uri="{FF2B5EF4-FFF2-40B4-BE49-F238E27FC236}">
                <a16:creationId xmlns:a16="http://schemas.microsoft.com/office/drawing/2014/main" id="{F854B96B-9037-4505-AA97-DCB0A884EB03}"/>
              </a:ext>
            </a:extLst>
          </p:cNvPr>
          <p:cNvPicPr>
            <a:picLocks noChangeAspect="1"/>
          </p:cNvPicPr>
          <p:nvPr/>
        </p:nvPicPr>
        <p:blipFill>
          <a:blip r:embed="rId2"/>
          <a:stretch>
            <a:fillRect/>
          </a:stretch>
        </p:blipFill>
        <p:spPr>
          <a:xfrm>
            <a:off x="0" y="4616378"/>
            <a:ext cx="1438476" cy="504895"/>
          </a:xfrm>
          <a:prstGeom prst="rect">
            <a:avLst/>
          </a:prstGeom>
        </p:spPr>
      </p:pic>
    </p:spTree>
    <p:extLst>
      <p:ext uri="{BB962C8B-B14F-4D97-AF65-F5344CB8AC3E}">
        <p14:creationId xmlns:p14="http://schemas.microsoft.com/office/powerpoint/2010/main" val="367327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76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FxHj1rJ47YWe0XPBeh.r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IfkHPVKo65XT5uqujOxB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malSpA6O9PSQr5hLcjw5y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t5U92gn_8SBnLEong5n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PBku_A5seyEvP10Wwqn8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l.GPJ8g25gqs6aGTAb61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2ewzAraG0nhcKCoUJGZaJ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uSTVUDIlk0TIMT0dEje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po6fY2.4Jyc489QttY3u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5Jvl0_Dzz2FtVMvB9SQ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scWWq2ESiEmdIqOymy40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bX4Sc3k6lMDxZECpg9F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6HtZt6LBEYGmSEzzwK1vN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F.fyE1ihzWh6iX2RASV5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LKGGjf6kbzJoH8bjk9o_g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x75S1zuDNOBq1jrqUe9K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0Oe8Cm_nPo5TelJNgEarl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n9IXolgKc8GSxgLxQLXh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SmjxTkij.ubCbqw5jcIi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oKCAzF5hO6ySx6R3lRq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PYW2CDYiRsqEIq.n60c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YqpSZAyRT8fF9OuoRyjc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Rt9bZKVFuqxxaAMpOWNI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g2e3sApugN5ExD3MjtR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arm8tyOl5f9rwBlQkXjR2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ijpR8rrshgExzu4qjziX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im8imYtIgORIRdndgzY5M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FV0f7kpHvuNydFLHAGGdF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aN1fjXXru3knEn4IXYD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0kx4Kr7g4iMBDSr3VzH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Hx3kAkEOjX8VDcGm7Wt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LqGYWHIp_.b01OhDYs8a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3elpZ5ENt6kpU3M2a3RY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1roK6N8PTTKpqfPuX4KTm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0rHHp8R.3eymPsb_xvRFB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Qz7ok_HvqICkOegspf.L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ZU1OB70s8TkTZrzD8B_P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0mTeJ61DDEYHMlJlyt5f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fGYzAxQkiZ49atxu6gm_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bXomWKbprMFNzuEbeTpx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_rtU0oSXm523TKqKu6Zu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1u_tFmcXJYE3PB6TG_w6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jNxGSXxFyBCjcNqVbIa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ncjtE.60UKoeUJyT822_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MMV9ke7X1XfR8meA_n6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czN_LqIcY6qvWzCpJppH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YyI9J5IKJCQd.QaIxvx7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bU166by_gTxycFzoBhN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dWnyJWpZlIuTWgSP0uf7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oZZrjwka64Idug3sD5y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7f1SrA6Wmvhe281NLnk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ipXUuh6jxXFTHbshn8j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2pnEPYdQS4gO9Bu60yG.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AVeRq3pC6tIjWM0M703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_CUe6O7dEhjB42QpJsx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Hx8WZ748GS_ncTzlW7A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AEgIwKrUcHQRPUWpESI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QqnK6.aIlT3zbsS4irx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5QdMhbkikolphVJxG8.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_Y9MErrOUYk4WtoAhIE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2luQkRCavNQhmaqJn8n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Hi4hrApWG9BoGeGomYn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hwex_4EXzSGSf84OSIm6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mTJ.6r1uhZ10UcBlA2rO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UAzaIHSmajdB4li43WM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x75S1zuDNOBq1jrqUe9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0mPzg91G3_M8TPmPrad6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FxHj1rJ47YWe0XPBeh.r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IfkHPVKo65XT5uqujOx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alSpA6O9PSQr5hLcjw5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t5U92gn_8SBnLEong5n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PBku_A5seyEvP10Wwqn8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l.GPJ8g25gqs6aGTAb61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ewzAraG0nhcKCoUJGZaJ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po6fY2.4Jyc489QttY3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5Jvl0_Dzz2FtVMvB9SQ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fyE1ihzWh6iX2RASV5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scWWq2ESiEmdIqOymy4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bX4Sc3k6lMDxZECpg9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HtZt6LBEYGmSEzzwK1v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uSTVUDIlk0TIMT0dEje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KGGjf6kbzJoH8bjk9o_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0Oe8Cm_nPo5TelJNgEar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SmjxTkij.ubCbqw5jcI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oKCAzF5hO6ySx6R3lRq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qpSZAyRT8fF9OuoRyjcz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Rt9bZKVFuqxxaAMpOWN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PYW2CDYiRsqEIq.n60c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n9IXolgKc8GSxgLxQLXh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g2e3sApugN5ExD3MjtR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rm8tyOl5f9rwBlQkXjR2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SnGnxt91ZrV6oHV1RDPx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9KObx2A8zIYsL2quUUpI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m8imYtIgORIRdndgzY5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elpZ5ENt6kpU3M2a3RYR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0kx4Kr7g4iMBDSr3VzH_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V0f7kpHvuNydFLHAGGd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x9zArX1YLiD_OLV7LwDG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DNrt10nF7QMU9vf2N5r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rHHp8R.3eymPsb_xvRFB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ndLeRZZjlc2P6D7ei7LH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bJit7yZ4.Qflp_6Zloqb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dTwGGYGJIxQL5pCp55c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fGYzAxQkiZ49atxu6gm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bXomWKbprMFNzuEbeTp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_rtU0oSXm523TKqKu6Zu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jNxGSXxFyBCjcNqVbI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YyI9J5IKJCQd.QaIxvx7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bU166by_gTxycFzoBhNA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ncjtE.60UKoeUJyT822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MMV9ke7X1XfR8meA_n6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czN_LqIcY6qvWzCpJpp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Hx3kAkEOjX8VDcGm7Wt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1u_tFmcXJYE3PB6TG_w6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dWnyJWpZlIuTWgSP0uf7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oZZrjwka64Idug3sD5yk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7f1SrA6Wmvhe281NLnkL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ipXUuh6jxXFTHbshn8jx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pnEPYdQS4gO9Bu60yG.o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AVeRq3pC6tIjWM0M703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_CUe6O7dEhjB42QpJsxU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LHx8WZ748GS_ncTzlW7A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5AEgIwKrUcHQRPUWpESI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0QqnK6.aIlT3zbsS4irx3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5QdMhbkikolphVJxG8.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_Y9MErrOUYk4WtoAhIEW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2luQkRCavNQhmaqJn8nD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Hi4hrApWG9BoGeGomYnv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hwex_4EXzSGSf84OSIm6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mTJ.6r1uhZ10UcBlA2rO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UAzaIHSmajdB4li43WM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0mPzg91G3_M8TPmPrad6A"/>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limadatastyrelsen skabelon DK">
  <a:themeElements>
    <a:clrScheme name="SDFI 2024">
      <a:dk1>
        <a:srgbClr val="000000"/>
      </a:dk1>
      <a:lt1>
        <a:srgbClr val="FFFFFF"/>
      </a:lt1>
      <a:dk2>
        <a:srgbClr val="004B53"/>
      </a:dk2>
      <a:lt2>
        <a:srgbClr val="F3F3EF"/>
      </a:lt2>
      <a:accent1>
        <a:srgbClr val="1E6791"/>
      </a:accent1>
      <a:accent2>
        <a:srgbClr val="045C65"/>
      </a:accent2>
      <a:accent3>
        <a:srgbClr val="0098A7"/>
      </a:accent3>
      <a:accent4>
        <a:srgbClr val="F47D2A"/>
      </a:accent4>
      <a:accent5>
        <a:srgbClr val="A31E22"/>
      </a:accent5>
      <a:accent6>
        <a:srgbClr val="004B53"/>
      </a:accent6>
      <a:hlink>
        <a:srgbClr val="4BB3C4"/>
      </a:hlink>
      <a:folHlink>
        <a:srgbClr val="4BB3C4"/>
      </a:folHlink>
    </a:clrScheme>
    <a:fontScheme name="SDFI 224">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rtlCol="0" anchor="ctr"/>
      <a:lstStyle>
        <a:defPPr algn="ctr">
          <a:defRPr sz="2000" dirty="0" err="1" smtClean="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DFI_Skabelon_2024_DK.potx" id="{4F30446E-4720-4DC1-AABE-787F744211F2}" vid="{B4626979-533E-44A6-825A-5569F35AD3DA}"/>
    </a:ext>
  </a:ext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0</TotalTime>
  <Words>2656</Words>
  <Application>Microsoft Office PowerPoint</Application>
  <PresentationFormat>Skærmshow (16:9)</PresentationFormat>
  <Paragraphs>316</Paragraphs>
  <Slides>13</Slides>
  <Notes>0</Notes>
  <HiddenSlides>0</HiddenSlides>
  <MMClips>0</MMClips>
  <ScaleCrop>false</ScaleCrop>
  <HeadingPairs>
    <vt:vector size="8" baseType="variant">
      <vt:variant>
        <vt:lpstr>Benyttede skrifttyper</vt:lpstr>
      </vt:variant>
      <vt:variant>
        <vt:i4>7</vt:i4>
      </vt:variant>
      <vt:variant>
        <vt:lpstr>Tema</vt:lpstr>
      </vt:variant>
      <vt:variant>
        <vt:i4>10</vt:i4>
      </vt:variant>
      <vt:variant>
        <vt:lpstr>Integrerede OLE-servere</vt:lpstr>
      </vt:variant>
      <vt:variant>
        <vt:i4>1</vt:i4>
      </vt:variant>
      <vt:variant>
        <vt:lpstr>Slidetitler</vt:lpstr>
      </vt:variant>
      <vt:variant>
        <vt:i4>13</vt:i4>
      </vt:variant>
    </vt:vector>
  </HeadingPairs>
  <TitlesOfParts>
    <vt:vector size="31" baseType="lpstr">
      <vt:lpstr>Arial</vt:lpstr>
      <vt:lpstr>Barlow Light</vt:lpstr>
      <vt:lpstr>Calibri</vt:lpstr>
      <vt:lpstr>Courier New</vt:lpstr>
      <vt:lpstr>Roboto</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Klimadatastyrelsen skabelon DK</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12-20T09:21:36Z</dcterms:created>
  <dcterms:modified xsi:type="dcterms:W3CDTF">2025-09-17T08:23:05Z</dcterms:modified>
</cp:coreProperties>
</file>